
<file path=[Content_Types].xml><?xml version="1.0" encoding="utf-8"?>
<Types xmlns="http://schemas.openxmlformats.org/package/2006/content-types">
  <Default ContentType="application/vnd.openxmlformats-officedocument.vmlDrawing" Extension="vml"/>
  <Default ContentType="application/x-fontdata" Extension="fntdata"/>
  <Default ContentType="application/vnd.openxmlformats-officedocument.oleObject" Extension="bin"/>
  <Default ContentType="application/xml" Extension="xml"/>
  <Default ContentType="image/png" Extension="png"/>
  <Default ContentType="application/vnd.openxmlformats-officedocument.obfuscatedFont" Extension="odttf"/>
  <Default ContentType="application/vnd.openxmlformats-package.relationships+xml" Extension="rels"/>
  <Override ContentType="application/vnd.openxmlformats-officedocument.presentationml.tableStyles+xml" PartName="/ppt/tableStyles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37.xml"/>
  <Override ContentType="application/vnd.openxmlformats-officedocument.presentationml.slideLayout+xml" PartName="/ppt/slideLayouts/slideLayout62.xml"/>
  <Override ContentType="application/vnd.openxmlformats-officedocument.presentationml.slideLayout+xml" PartName="/ppt/slideLayouts/slideLayout54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29.xml"/>
  <Override ContentType="application/vnd.openxmlformats-officedocument.presentationml.slideLayout+xml" PartName="/ppt/slideLayouts/slideLayout46.xml"/>
  <Override ContentType="application/vnd.openxmlformats-officedocument.presentationml.slideLayout+xml" PartName="/ppt/slideLayouts/slideLayout70.xml"/>
  <Override ContentType="application/vnd.openxmlformats-officedocument.presentationml.slideLayout+xml" PartName="/ppt/slideLayouts/slideLayout20.xml"/>
  <Override ContentType="application/vnd.openxmlformats-officedocument.presentationml.slideLayout+xml" PartName="/ppt/slideLayouts/slideLayout55.xml"/>
  <Override ContentType="application/vnd.openxmlformats-officedocument.presentationml.slideLayout+xml" PartName="/ppt/slideLayouts/slideLayout61.xml"/>
  <Override ContentType="application/vnd.openxmlformats-officedocument.presentationml.slideLayout+xml" PartName="/ppt/slideLayouts/slideLayout38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52.xml"/>
  <Override ContentType="application/vnd.openxmlformats-officedocument.presentationml.slideLayout+xml" PartName="/ppt/slideLayouts/slideLayout64.xml"/>
  <Override ContentType="application/vnd.openxmlformats-officedocument.presentationml.slideLayout+xml" PartName="/ppt/slideLayouts/slideLayout21.xml"/>
  <Override ContentType="application/vnd.openxmlformats-officedocument.presentationml.slideLayout+xml" PartName="/ppt/slideLayouts/slideLayout60.xml"/>
  <Override ContentType="application/vnd.openxmlformats-officedocument.presentationml.slideLayout+xml" PartName="/ppt/slideLayouts/slideLayout47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18.xml"/>
  <Override ContentType="application/vnd.openxmlformats-officedocument.presentationml.slideLayout+xml" PartName="/ppt/slideLayouts/slideLayout65.xml"/>
  <Override ContentType="application/vnd.openxmlformats-officedocument.presentationml.slideLayout+xml" PartName="/ppt/slideLayouts/slideLayout22.xml"/>
  <Override ContentType="application/vnd.openxmlformats-officedocument.presentationml.slideLayout+xml" PartName="/ppt/slideLayouts/slideLayout35.xml"/>
  <Override ContentType="application/vnd.openxmlformats-officedocument.presentationml.slideLayout+xml" PartName="/ppt/slideLayouts/slideLayout48.xml"/>
  <Override ContentType="application/vnd.openxmlformats-officedocument.presentationml.slideLayout+xml" PartName="/ppt/slideLayouts/slideLayout72.xml"/>
  <Override ContentType="application/vnd.openxmlformats-officedocument.presentationml.slideLayout+xml" PartName="/ppt/slideLayouts/slideLayout49.xml"/>
  <Override ContentType="application/vnd.openxmlformats-officedocument.presentationml.slideLayout+xml" PartName="/ppt/slideLayouts/slideLayout19.xml"/>
  <Override ContentType="application/vnd.openxmlformats-officedocument.presentationml.slideLayout+xml" PartName="/ppt/slideLayouts/slideLayout36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66.xml"/>
  <Override ContentType="application/vnd.openxmlformats-officedocument.presentationml.slideLayout+xml" PartName="/ppt/slideLayouts/slideLayout53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71.xml"/>
  <Override ContentType="application/vnd.openxmlformats-officedocument.presentationml.slideLayout+xml" PartName="/ppt/slideLayouts/slideLayout41.xml"/>
  <Override ContentType="application/vnd.openxmlformats-officedocument.presentationml.slideLayout+xml" PartName="/ppt/slideLayouts/slideLayout23.xml"/>
  <Override ContentType="application/vnd.openxmlformats-officedocument.presentationml.slideLayout+xml" PartName="/ppt/slideLayouts/slideLayout24.xml"/>
  <Override ContentType="application/vnd.openxmlformats-officedocument.presentationml.slideLayout+xml" PartName="/ppt/slideLayouts/slideLayout67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40.xml"/>
  <Override ContentType="application/vnd.openxmlformats-officedocument.presentationml.slideLayout+xml" PartName="/ppt/slideLayouts/slideLayout16.xml"/>
  <Override ContentType="application/vnd.openxmlformats-officedocument.presentationml.slideLayout+xml" PartName="/ppt/slideLayouts/slideLayout59.xml"/>
  <Override ContentType="application/vnd.openxmlformats-officedocument.presentationml.slideLayout+xml" PartName="/ppt/slideLayouts/slideLayout33.xml"/>
  <Override ContentType="application/vnd.openxmlformats-officedocument.presentationml.slideLayout+xml" PartName="/ppt/slideLayouts/slideLayout25.xml"/>
  <Override ContentType="application/vnd.openxmlformats-officedocument.presentationml.slideLayout+xml" PartName="/ppt/slideLayouts/slideLayout74.xml"/>
  <Override ContentType="application/vnd.openxmlformats-officedocument.presentationml.slideLayout+xml" PartName="/ppt/slideLayouts/slideLayout17.xml"/>
  <Override ContentType="application/vnd.openxmlformats-officedocument.presentationml.slideLayout+xml" PartName="/ppt/slideLayouts/slideLayout42.xml"/>
  <Override ContentType="application/vnd.openxmlformats-officedocument.presentationml.slideLayout+xml" PartName="/ppt/slideLayouts/slideLayout68.xml"/>
  <Override ContentType="application/vnd.openxmlformats-officedocument.presentationml.slideLayout+xml" PartName="/ppt/slideLayouts/slideLayout34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30.xml"/>
  <Override ContentType="application/vnd.openxmlformats-officedocument.presentationml.slideLayout+xml" PartName="/ppt/slideLayouts/slideLayout73.xml"/>
  <Override ContentType="application/vnd.openxmlformats-officedocument.presentationml.slideLayout+xml" PartName="/ppt/slideLayouts/slideLayout56.xml"/>
  <Override ContentType="application/vnd.openxmlformats-officedocument.presentationml.slideLayout+xml" PartName="/ppt/slideLayouts/slideLayout43.xml"/>
  <Override ContentType="application/vnd.openxmlformats-officedocument.presentationml.slideLayout+xml" PartName="/ppt/slideLayouts/slideLayout26.xml"/>
  <Override ContentType="application/vnd.openxmlformats-officedocument.presentationml.slideLayout+xml" PartName="/ppt/slideLayouts/slideLayout51.xml"/>
  <Override ContentType="application/vnd.openxmlformats-officedocument.presentationml.slideLayout+xml" PartName="/ppt/slideLayouts/slideLayout69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39.xml"/>
  <Override ContentType="application/vnd.openxmlformats-officedocument.presentationml.slideLayout+xml" PartName="/ppt/slideLayouts/slideLayout57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31.xml"/>
  <Override ContentType="application/vnd.openxmlformats-officedocument.presentationml.slideLayout+xml" PartName="/ppt/slideLayouts/slideLayout50.xml"/>
  <Override ContentType="application/vnd.openxmlformats-officedocument.presentationml.slideLayout+xml" PartName="/ppt/slideLayouts/slideLayout44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63.xml"/>
  <Override ContentType="application/vnd.openxmlformats-officedocument.presentationml.slideLayout+xml" PartName="/ppt/slideLayouts/slideLayout28.xml"/>
  <Override ContentType="application/vnd.openxmlformats-officedocument.presentationml.slideLayout+xml" PartName="/ppt/slideLayouts/slideLayout27.xml"/>
  <Override ContentType="application/vnd.openxmlformats-officedocument.presentationml.slideLayout+xml" PartName="/ppt/slideLayouts/slideLayout58.xml"/>
  <Override ContentType="application/vnd.openxmlformats-officedocument.presentationml.slideLayout+xml" PartName="/ppt/slideLayouts/slideLayout15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75.xml"/>
  <Override ContentType="application/vnd.openxmlformats-officedocument.presentationml.slideLayout+xml" PartName="/ppt/slideLayouts/slideLayout45.xml"/>
  <Override ContentType="application/vnd.openxmlformats-officedocument.presentationml.slideLayout+xml" PartName="/ppt/slideLayouts/slideLayout32.xml"/>
  <Override ContentType="application/vnd.openxmlformats-officedocument.presentationml.slideMaster+xml" PartName="/ppt/slideMasters/slideMaster2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4.xml"/>
  <Override ContentType="application/vnd.openxmlformats-officedocument.presentationml.slide+xml" PartName="/ppt/slides/slide18.xml"/>
  <Override ContentType="application/vnd.openxmlformats-officedocument.presentationml.slide+xml" PartName="/ppt/slides/slide22.xml"/>
  <Override ContentType="application/vnd.openxmlformats-officedocument.presentationml.slide+xml" PartName="/ppt/slides/slide26.xml"/>
  <Override ContentType="application/vnd.openxmlformats-officedocument.presentationml.slide+xml" PartName="/ppt/slides/slide19.xml"/>
  <Override ContentType="application/vnd.openxmlformats-officedocument.presentationml.slide+xml" PartName="/ppt/slides/slide3.xml"/>
  <Override ContentType="application/vnd.openxmlformats-officedocument.presentationml.slide+xml" PartName="/ppt/slides/slide9.xml"/>
  <Override ContentType="application/vnd.openxmlformats-officedocument.presentationml.slide+xml" PartName="/ppt/slides/slide13.xml"/>
  <Override ContentType="application/vnd.openxmlformats-officedocument.presentationml.slide+xml" PartName="/ppt/slides/slide5.xml"/>
  <Override ContentType="application/vnd.openxmlformats-officedocument.presentationml.slide+xml" PartName="/ppt/slides/slide12.xml"/>
  <Override ContentType="application/vnd.openxmlformats-officedocument.presentationml.slide+xml" PartName="/ppt/slides/slide17.xml"/>
  <Override ContentType="application/vnd.openxmlformats-officedocument.presentationml.slide+xml" PartName="/ppt/slides/slide25.xml"/>
  <Override ContentType="application/vnd.openxmlformats-officedocument.presentationml.slide+xml" PartName="/ppt/slides/slide20.xml"/>
  <Override ContentType="application/vnd.openxmlformats-officedocument.presentationml.slide+xml" PartName="/ppt/slides/slide21.xml"/>
  <Override ContentType="application/vnd.openxmlformats-officedocument.presentationml.slide+xml" PartName="/ppt/slides/slide16.xml"/>
  <Override ContentType="application/vnd.openxmlformats-officedocument.presentationml.slide+xml" PartName="/ppt/slides/slide8.xml"/>
  <Override ContentType="application/vnd.openxmlformats-officedocument.presentationml.slide+xml" PartName="/ppt/slides/slide24.xml"/>
  <Override ContentType="application/vnd.openxmlformats-officedocument.presentationml.slide+xml" PartName="/ppt/slides/slide11.xml"/>
  <Override ContentType="application/vnd.openxmlformats-officedocument.presentationml.slide+xml" PartName="/ppt/slides/slide1.xml"/>
  <Override ContentType="application/vnd.openxmlformats-officedocument.presentationml.slide+xml" PartName="/ppt/slides/slide7.xml"/>
  <Override ContentType="application/vnd.openxmlformats-officedocument.presentationml.slide+xml" PartName="/ppt/slides/slide15.xml"/>
  <Override ContentType="application/vnd.openxmlformats-officedocument.presentationml.slide+xml" PartName="/ppt/slides/slide23.xml"/>
  <Override ContentType="application/vnd.openxmlformats-officedocument.presentationml.slide+xml" PartName="/ppt/slides/slide10.xml"/>
  <Override ContentType="application/vnd.openxmlformats-officedocument.presentationml.slide+xml" PartName="/ppt/slides/slide2.xml"/>
  <Override ContentType="application/vnd.openxmlformats-officedocument.presentationml.slide+xml" PartName="/ppt/slides/slide6.xml"/>
  <Override ContentType="application/vnd.openxmlformats-officedocument.presentationml.slide+xml" PartName="/ppt/slides/slide14.xml"/>
  <Override ContentType="application/vnd.openxmlformats-officedocument.oleObject" PartName="/ppt/embeddings/oleObject3.bin"/>
  <Override ContentType="application/vnd.openxmlformats-officedocument.oleObject" PartName="/ppt/embeddings/oleObject6.bin"/>
  <Override ContentType="application/vnd.openxmlformats-officedocument.oleObject" PartName="/ppt/embeddings/oleObject5.bin"/>
  <Override ContentType="application/vnd.openxmlformats-officedocument.oleObject" PartName="/ppt/embeddings/oleObject4.bin"/>
  <Override ContentType="application/vnd.openxmlformats-officedocument.oleObject" PartName="/ppt/embeddings/oleObject2.bin"/>
  <Override ContentType="application/vnd.openxmlformats-officedocument.oleObject" PartName="/ppt/embeddings/oleObject1.bin"/>
  <Override ContentType="application/vnd.openxmlformats-package.core-properties+xml" PartName="/docProps/core.xml"/>
  <Override ContentType="application/vnd.openxmlformats-officedocument.presentationml.presentation.main+xml" PartName="/ppt/presentation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theme+xml" PartName="/ppt/theme/theme3.xml"/>
  <Override ContentType="application/vnd.openxmlformats-officedocument.presentationml.notesSlide+xml" PartName="/ppt/notesSlides/notesSlide3.xml"/>
  <Override ContentType="application/vnd.openxmlformats-officedocument.presentationml.notesSlide+xml" PartName="/ppt/notesSlides/notesSlide9.xml"/>
  <Override ContentType="application/vnd.openxmlformats-officedocument.presentationml.notesSlide+xml" PartName="/ppt/notesSlides/notesSlide15.xml"/>
  <Override ContentType="application/vnd.openxmlformats-officedocument.presentationml.notesSlide+xml" PartName="/ppt/notesSlides/notesSlide11.xml"/>
  <Override ContentType="application/vnd.openxmlformats-officedocument.presentationml.notesSlide+xml" PartName="/ppt/notesSlides/notesSlide24.xml"/>
  <Override ContentType="application/vnd.openxmlformats-officedocument.presentationml.notesSlide+xml" PartName="/ppt/notesSlides/notesSlide12.xml"/>
  <Override ContentType="application/vnd.openxmlformats-officedocument.presentationml.notesSlide+xml" PartName="/ppt/notesSlides/notesSlide20.xml"/>
  <Override ContentType="application/vnd.openxmlformats-officedocument.presentationml.notesSlide+xml" PartName="/ppt/notesSlides/notesSlide17.xml"/>
  <Override ContentType="application/vnd.openxmlformats-officedocument.presentationml.notesSlide+xml" PartName="/ppt/notesSlides/notesSlide16.xml"/>
  <Override ContentType="application/vnd.openxmlformats-officedocument.presentationml.notesSlide+xml" PartName="/ppt/notesSlides/notesSlide21.xml"/>
  <Override ContentType="application/vnd.openxmlformats-officedocument.presentationml.notesSlide+xml" PartName="/ppt/notesSlides/notesSlide8.xml"/>
  <Override ContentType="application/vnd.openxmlformats-officedocument.presentationml.notesSlide+xml" PartName="/ppt/notesSlides/notesSlide4.xml"/>
  <Override ContentType="application/vnd.openxmlformats-officedocument.presentationml.notesSlide+xml" PartName="/ppt/notesSlides/notesSlide25.xml"/>
  <Override ContentType="application/vnd.openxmlformats-officedocument.presentationml.notesSlide+xml" PartName="/ppt/notesSlides/notesSlide18.xml"/>
  <Override ContentType="application/vnd.openxmlformats-officedocument.presentationml.notesSlide+xml" PartName="/ppt/notesSlides/notesSlide6.xml"/>
  <Override ContentType="application/vnd.openxmlformats-officedocument.presentationml.notesSlide+xml" PartName="/ppt/notesSlides/notesSlide13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22.xml"/>
  <Override ContentType="application/vnd.openxmlformats-officedocument.presentationml.notesSlide+xml" PartName="/ppt/notesSlides/notesSlide7.xml"/>
  <Override ContentType="application/vnd.openxmlformats-officedocument.presentationml.notesSlide+xml" PartName="/ppt/notesSlides/notesSlide26.xml"/>
  <Override ContentType="application/vnd.openxmlformats-officedocument.presentationml.notesSlide+xml" PartName="/ppt/notesSlides/notesSlide5.xml"/>
  <Override ContentType="application/vnd.openxmlformats-officedocument.presentationml.notesSlide+xml" PartName="/ppt/notesSlides/notesSlide19.xml"/>
  <Override ContentType="application/vnd.openxmlformats-officedocument.presentationml.notesSlide+xml" PartName="/ppt/notesSlides/notesSlide14.xml"/>
  <Override ContentType="application/vnd.openxmlformats-officedocument.presentationml.notesSlide+xml" PartName="/ppt/notesSlides/notesSlide23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10.xml"/>
  <Override ContentType="application/vnd.openxmlformats-officedocument.custom-properties+xml" PartName="/docProps/custom.xml"/>
  <Override ContentType="application/binary" PartName="/ppt/metadata"/>
  <Override ContentType="application/vnd.openxmlformats-officedocument.presentationml.notesMaster+xml" PartName="/ppt/notesMasters/notesMaster1.xml"/>
  <Override ContentType="application/vnd.openxmlformats-officedocument.presentationml.presProps+xml" PartName="/ppt/presProps.xml"/>
</Types>
</file>

<file path=_rels/.rels><?xml version="1.0" encoding="UTF-8" standalone="yes"?><Relationships xmlns="http://schemas.openxmlformats.org/package/2006/relationships"><Relationship Id="rId1" Type="http://schemas.openxmlformats.org/officeDocument/2006/relationships/custom-properties" Target="docProps/custom.xml"/><Relationship Id="rId2" Type="http://schemas.openxmlformats.org/package/2006/relationships/metadata/core-properties" Target="docProps/core.xml"/><Relationship Id="rId3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autoCompressPictures="0" embedTrueTypeFonts="1" strictFirstAndLastChars="0" saveSubsetFonts="1">
  <p:sldMasterIdLst>
    <p:sldMasterId id="2147483648" r:id="rId4"/>
    <p:sldMasterId id="2147483687" r:id="rId5"/>
  </p:sldMasterIdLst>
  <p:notesMasterIdLst>
    <p:notesMasterId r:id="rId6"/>
  </p:notesMasterIdLst>
  <p:sldIdLst>
    <p:sldId id="256" r:id="rId7"/>
    <p:sldId id="257" r:id="rId8"/>
    <p:sldId id="258" r:id="rId9"/>
    <p:sldId id="259" r:id="rId10"/>
    <p:sldId id="260" r:id="rId11"/>
    <p:sldId id="261" r:id="rId12"/>
    <p:sldId id="262" r:id="rId13"/>
    <p:sldId id="263" r:id="rId14"/>
    <p:sldId id="264" r:id="rId15"/>
    <p:sldId id="265" r:id="rId16"/>
    <p:sldId id="266" r:id="rId17"/>
    <p:sldId id="267" r:id="rId18"/>
    <p:sldId id="268" r:id="rId19"/>
    <p:sldId id="269" r:id="rId20"/>
    <p:sldId id="270" r:id="rId21"/>
    <p:sldId id="271" r:id="rId22"/>
    <p:sldId id="272" r:id="rId23"/>
    <p:sldId id="273" r:id="rId24"/>
    <p:sldId id="274" r:id="rId25"/>
    <p:sldId id="275" r:id="rId26"/>
    <p:sldId id="276" r:id="rId27"/>
    <p:sldId id="277" r:id="rId28"/>
    <p:sldId id="278" r:id="rId29"/>
    <p:sldId id="279" r:id="rId30"/>
    <p:sldId id="280" r:id="rId31"/>
    <p:sldId id="281" r:id="rId32"/>
  </p:sldIdLst>
  <p:sldSz cy="6858000" cx="12192000"/>
  <p:notesSz cx="6858000" cy="9144000"/>
  <p:embeddedFontLst>
    <p:embeddedFont>
      <p:font typeface="Fira Sans"/>
      <p:regular r:id="rId33"/>
      <p:bold r:id="rId34"/>
      <p:italic r:id="rId35"/>
      <p:boldItalic r:id="rId36"/>
    </p:embeddedFont>
    <p:embeddedFont>
      <p:font typeface="Fira Sans Condensed"/>
      <p:regular r:id="rId37"/>
      <p:bold r:id="rId38"/>
      <p:italic r:id="rId39"/>
      <p:boldItalic r:id="rId40"/>
    </p:embeddedFont>
  </p:embeddedFontLst>
  <p:defaultTextStyle>
    <a:defPPr lvl="0" marR="0" rtl="0" algn="l">
      <a:lnSpc>
        <a:spcPct val="100000"/>
      </a:lnSpc>
      <a:spcBef>
        <a:spcPts val="0"/>
      </a:spcBef>
      <a:spcAft>
        <a:spcPts val="0"/>
      </a:spcAft>
    </a:defPPr>
    <a:lvl1pPr lvl="0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1pPr>
    <a:lvl2pPr lvl="1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2pPr>
    <a:lvl3pPr lvl="2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3pPr>
    <a:lvl4pPr lvl="3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4pPr>
    <a:lvl5pPr lvl="4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5pPr>
    <a:lvl6pPr lvl="5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6pPr>
    <a:lvl7pPr lvl="6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7pPr>
    <a:lvl8pPr lvl="7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8pPr>
    <a:lvl9pPr lvl="8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GoogleSlidesCustomDataVersion2">
      <go:slidesCustomData xmlns:go="http://customooxmlschemas.google.com/" r:id="rId41" roundtripDataSignature="AMtx7miKGdywE8Hq2JAw2c81FpRl41BQ1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/>
</file>

<file path=ppt/tableStyles.xml><?xml version="1.0" encoding="utf-8"?>
<a:tblStyleLst xmlns:a="http://schemas.openxmlformats.org/drawingml/2006/main" xmlns:r="http://schemas.openxmlformats.org/officeDocument/2006/relationships" def="{39331D3E-37EF-42DD-B7F5-46AFAEFFEBB7}">
  <a:tblStyle styleId="{39331D3E-37EF-42DD-B7F5-46AFAEFFEBB7}" styleName="Table_0">
    <a:wholeTbl>
      <a:tcTxStyle b="off" i="off">
        <a:font>
          <a:latin typeface="Fira Sans"/>
          <a:ea typeface="Fira Sans"/>
          <a:cs typeface="Fira Sans"/>
        </a:font>
        <a:schemeClr val="dk1"/>
      </a:tcTxStyle>
      <a:tcStyle>
        <a:tcBdr>
          <a:left>
            <a:ln cap="flat" cmpd="sng" w="9525">
              <a:solidFill>
                <a:srgbClr val="000000">
                  <a:alpha val="0"/>
                </a:srgbClr>
              </a:solidFill>
              <a:prstDash val="solid"/>
              <a:round/>
              <a:headEnd len="sm" w="sm" type="none"/>
              <a:tailEnd len="sm" w="sm" type="none"/>
            </a:ln>
          </a:left>
          <a:right>
            <a:ln cap="flat" cmpd="sng" w="9525">
              <a:solidFill>
                <a:srgbClr val="000000">
                  <a:alpha val="0"/>
                </a:srgbClr>
              </a:solidFill>
              <a:prstDash val="solid"/>
              <a:round/>
              <a:headEnd len="sm" w="sm" type="none"/>
              <a:tailEnd len="sm" w="sm" type="none"/>
            </a:ln>
          </a:right>
          <a:top>
            <a:ln cap="flat" cmpd="sng" w="9525">
              <a:solidFill>
                <a:srgbClr val="000000">
                  <a:alpha val="0"/>
                </a:srgbClr>
              </a:solidFill>
              <a:prstDash val="solid"/>
              <a:round/>
              <a:headEnd len="sm" w="sm" type="none"/>
              <a:tailEnd len="sm" w="sm" type="none"/>
            </a:ln>
          </a:top>
          <a:bottom>
            <a:ln cap="flat" cmpd="sng" w="9525">
              <a:solidFill>
                <a:schemeClr val="dk1"/>
              </a:solidFill>
              <a:prstDash val="solid"/>
              <a:round/>
              <a:headEnd len="sm" w="sm" type="none"/>
              <a:tailEnd len="sm" w="sm" type="none"/>
            </a:ln>
          </a:bottom>
          <a:insideH>
            <a:ln cap="flat" cmpd="sng" w="9525">
              <a:solidFill>
                <a:schemeClr val="accent3"/>
              </a:solidFill>
              <a:prstDash val="solid"/>
              <a:round/>
              <a:headEnd len="sm" w="sm" type="none"/>
              <a:tailEnd len="sm" w="sm" type="none"/>
            </a:ln>
          </a:insideH>
          <a:insideV>
            <a:ln cap="flat" cmpd="sng" w="9525">
              <a:solidFill>
                <a:srgbClr val="000000">
                  <a:alpha val="0"/>
                </a:srgbClr>
              </a:solidFill>
              <a:prstDash val="solid"/>
              <a:round/>
              <a:headEnd len="sm" w="sm" type="none"/>
              <a:tailEnd len="sm" w="sm" type="none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</a:band1H>
    <a:band2H>
      <a:tcTxStyle/>
    </a:band2H>
    <a:band1V>
      <a:tcTxStyle/>
    </a:band1V>
    <a:band2V>
      <a:tcTxStyle/>
    </a:band2V>
    <a:lastCol>
      <a:tcTxStyle/>
    </a:lastCol>
    <a:firstCol>
      <a:tcTxStyle b="on" i="off">
        <a:font>
          <a:latin typeface="Fira Sans"/>
          <a:ea typeface="Fira Sans"/>
          <a:cs typeface="Fira Sans"/>
        </a:font>
        <a:schemeClr val="dk1"/>
      </a:tcTxStyle>
    </a:firstCol>
    <a:lastRow>
      <a:tcTxStyle b="on" i="off">
        <a:font>
          <a:latin typeface="Fira Sans"/>
          <a:ea typeface="Fira Sans"/>
          <a:cs typeface="Fira Sans"/>
        </a:font>
        <a:schemeClr val="dk2"/>
      </a:tcTxStyle>
      <a:tcStyle>
        <a:tcBdr>
          <a:top>
            <a:ln cap="flat" cmpd="sng" w="9525">
              <a:solidFill>
                <a:schemeClr val="accent3"/>
              </a:solidFill>
              <a:prstDash val="solid"/>
              <a:round/>
              <a:headEnd len="sm" w="sm" type="none"/>
              <a:tailEnd len="sm" w="sm" type="none"/>
            </a:ln>
          </a:top>
          <a:bottom>
            <a:ln cap="flat" cmpd="sng" w="9525">
              <a:solidFill>
                <a:schemeClr val="dk1"/>
              </a:solidFill>
              <a:prstDash val="solid"/>
              <a:round/>
              <a:headEnd len="sm" w="sm" type="none"/>
              <a:tailEnd len="sm" w="sm" type="none"/>
            </a:ln>
          </a:bottom>
        </a:tcBdr>
      </a:tcStyle>
    </a:lastRow>
    <a:seCell>
      <a:tcTxStyle/>
    </a:seCell>
    <a:swCell>
      <a:tcTxStyle/>
    </a:swCell>
    <a:firstRow>
      <a:tcTxStyle b="on" i="off">
        <a:font>
          <a:latin typeface="Fira Sans"/>
          <a:ea typeface="Fira Sans"/>
          <a:cs typeface="Fira Sans"/>
        </a:font>
        <a:schemeClr val="dk2"/>
      </a:tcTxStyle>
      <a:tcStyle>
        <a:tcBdr>
          <a:bottom>
            <a:ln cap="flat" cmpd="sng" w="9525">
              <a:solidFill>
                <a:schemeClr val="dk1"/>
              </a:solidFill>
              <a:prstDash val="solid"/>
              <a:round/>
              <a:headEnd len="sm" w="sm" type="none"/>
              <a:tailEnd len="sm" w="sm" type="none"/>
            </a:ln>
          </a:bottom>
        </a:tcBdr>
      </a:tcStyle>
    </a:firstRow>
    <a:neCell>
      <a:tcTxStyle/>
    </a:neCell>
    <a:nwCell>
      <a:tcTxStyle/>
    </a:nwCell>
  </a:tblStyle>
</a:tblStyleLst>
</file>

<file path=ppt/_rels/presentation.xml.rels><?xml version="1.0" encoding="UTF-8" standalone="yes"?><Relationships xmlns="http://schemas.openxmlformats.org/package/2006/relationships"><Relationship Id="rId40" Type="http://schemas.openxmlformats.org/officeDocument/2006/relationships/font" Target="fonts/FiraSansCondensed-boldItalic.fntdata"/><Relationship Id="rId20" Type="http://schemas.openxmlformats.org/officeDocument/2006/relationships/slide" Target="slides/slide14.xml"/><Relationship Id="rId41" Type="http://customschemas.google.com/relationships/presentationmetadata" Target="metadata"/><Relationship Id="rId22" Type="http://schemas.openxmlformats.org/officeDocument/2006/relationships/slide" Target="slides/slide16.xml"/><Relationship Id="rId21" Type="http://schemas.openxmlformats.org/officeDocument/2006/relationships/slide" Target="slides/slide15.xml"/><Relationship Id="rId24" Type="http://schemas.openxmlformats.org/officeDocument/2006/relationships/slide" Target="slides/slide18.xml"/><Relationship Id="rId23" Type="http://schemas.openxmlformats.org/officeDocument/2006/relationships/slide" Target="slides/slide17.xml"/><Relationship Id="rId1" Type="http://schemas.openxmlformats.org/officeDocument/2006/relationships/theme" Target="theme/theme2.xml"/><Relationship Id="rId2" Type="http://schemas.openxmlformats.org/officeDocument/2006/relationships/presProps" Target="presProps.xml"/><Relationship Id="rId3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26" Type="http://schemas.openxmlformats.org/officeDocument/2006/relationships/slide" Target="slides/slide20.xml"/><Relationship Id="rId25" Type="http://schemas.openxmlformats.org/officeDocument/2006/relationships/slide" Target="slides/slide19.xml"/><Relationship Id="rId28" Type="http://schemas.openxmlformats.org/officeDocument/2006/relationships/slide" Target="slides/slide22.xml"/><Relationship Id="rId27" Type="http://schemas.openxmlformats.org/officeDocument/2006/relationships/slide" Target="slides/slide21.xml"/><Relationship Id="rId5" Type="http://schemas.openxmlformats.org/officeDocument/2006/relationships/slideMaster" Target="slideMasters/slideMaster2.xml"/><Relationship Id="rId6" Type="http://schemas.openxmlformats.org/officeDocument/2006/relationships/notesMaster" Target="notesMasters/notesMaster1.xml"/><Relationship Id="rId29" Type="http://schemas.openxmlformats.org/officeDocument/2006/relationships/slide" Target="slides/slide23.xml"/><Relationship Id="rId7" Type="http://schemas.openxmlformats.org/officeDocument/2006/relationships/slide" Target="slides/slide1.xml"/><Relationship Id="rId8" Type="http://schemas.openxmlformats.org/officeDocument/2006/relationships/slide" Target="slides/slide2.xml"/><Relationship Id="rId31" Type="http://schemas.openxmlformats.org/officeDocument/2006/relationships/slide" Target="slides/slide25.xml"/><Relationship Id="rId30" Type="http://schemas.openxmlformats.org/officeDocument/2006/relationships/slide" Target="slides/slide24.xml"/><Relationship Id="rId11" Type="http://schemas.openxmlformats.org/officeDocument/2006/relationships/slide" Target="slides/slide5.xml"/><Relationship Id="rId33" Type="http://schemas.openxmlformats.org/officeDocument/2006/relationships/font" Target="fonts/FiraSans-regular.fntdata"/><Relationship Id="rId10" Type="http://schemas.openxmlformats.org/officeDocument/2006/relationships/slide" Target="slides/slide4.xml"/><Relationship Id="rId32" Type="http://schemas.openxmlformats.org/officeDocument/2006/relationships/slide" Target="slides/slide26.xml"/><Relationship Id="rId13" Type="http://schemas.openxmlformats.org/officeDocument/2006/relationships/slide" Target="slides/slide7.xml"/><Relationship Id="rId35" Type="http://schemas.openxmlformats.org/officeDocument/2006/relationships/font" Target="fonts/FiraSans-italic.fntdata"/><Relationship Id="rId12" Type="http://schemas.openxmlformats.org/officeDocument/2006/relationships/slide" Target="slides/slide6.xml"/><Relationship Id="rId34" Type="http://schemas.openxmlformats.org/officeDocument/2006/relationships/font" Target="fonts/FiraSans-bold.fntdata"/><Relationship Id="rId15" Type="http://schemas.openxmlformats.org/officeDocument/2006/relationships/slide" Target="slides/slide9.xml"/><Relationship Id="rId37" Type="http://schemas.openxmlformats.org/officeDocument/2006/relationships/font" Target="fonts/FiraSansCondensed-regular.fntdata"/><Relationship Id="rId14" Type="http://schemas.openxmlformats.org/officeDocument/2006/relationships/slide" Target="slides/slide8.xml"/><Relationship Id="rId36" Type="http://schemas.openxmlformats.org/officeDocument/2006/relationships/font" Target="fonts/FiraSans-boldItalic.fntdata"/><Relationship Id="rId17" Type="http://schemas.openxmlformats.org/officeDocument/2006/relationships/slide" Target="slides/slide11.xml"/><Relationship Id="rId39" Type="http://schemas.openxmlformats.org/officeDocument/2006/relationships/font" Target="fonts/FiraSansCondensed-italic.fntdata"/><Relationship Id="rId16" Type="http://schemas.openxmlformats.org/officeDocument/2006/relationships/slide" Target="slides/slide10.xml"/><Relationship Id="rId38" Type="http://schemas.openxmlformats.org/officeDocument/2006/relationships/font" Target="fonts/FiraSansCondensed-bold.fntdata"/><Relationship Id="rId19" Type="http://schemas.openxmlformats.org/officeDocument/2006/relationships/slide" Target="slides/slide13.xml"/><Relationship Id="rId18" Type="http://schemas.openxmlformats.org/officeDocument/2006/relationships/slide" Target="slides/slide12.xml"/></Relationships>
</file>

<file path=ppt/drawings/_rels/vmlDrawing1.vml.rels><?xml version="1.0" encoding="UTF-8" standalone="yes"?><Relationships xmlns="http://schemas.openxmlformats.org/package/2006/relationships"><Relationship Id="rId1" Type="http://schemas.openxmlformats.org/officeDocument/2006/relationships/image" Target="../media/image7.png"/></Relationships>
</file>

<file path=ppt/drawings/_rels/vmlDrawing2.vml.rels><?xml version="1.0" encoding="UTF-8" standalone="yes"?><Relationships xmlns="http://schemas.openxmlformats.org/package/2006/relationships"><Relationship Id="rId1" Type="http://schemas.openxmlformats.org/officeDocument/2006/relationships/image" Target="../media/image7.png"/></Relationships>
</file>

<file path=ppt/drawings/_rels/vmlDrawing3.vml.rels><?xml version="1.0" encoding="UTF-8" standalone="yes"?><Relationships xmlns="http://schemas.openxmlformats.org/package/2006/relationships"><Relationship Id="rId1" Type="http://schemas.openxmlformats.org/officeDocument/2006/relationships/image" Target="../media/image7.png"/></Relationships>
</file>

<file path=ppt/drawings/_rels/vmlDrawing4.vml.rels><?xml version="1.0" encoding="UTF-8" standalone="yes"?><Relationships xmlns="http://schemas.openxmlformats.org/package/2006/relationships"><Relationship Id="rId1" Type="http://schemas.openxmlformats.org/officeDocument/2006/relationships/image" Target="../media/image7.png"/></Relationships>
</file>

<file path=ppt/drawings/_rels/vmlDrawing5.vml.rels><?xml version="1.0" encoding="UTF-8" standalone="yes"?><Relationships xmlns="http://schemas.openxmlformats.org/package/2006/relationships"><Relationship Id="rId1" Type="http://schemas.openxmlformats.org/officeDocument/2006/relationships/image" Target="../media/image7.png"/></Relationships>
</file>

<file path=ppt/drawings/_rels/vmlDrawing6.vml.rels><?xml version="1.0" encoding="UTF-8" standalone="yes"?><Relationships xmlns="http://schemas.openxmlformats.org/package/2006/relationships"><Relationship Id="rId1" Type="http://schemas.openxmlformats.org/officeDocument/2006/relationships/image" Target="../media/image7.png"/></Relationships>
</file>

<file path=ppt/notesMasters/_rels/notesMaster1.xml.rels><?xml version="1.0" encoding="UTF-8" standalone="yes"?><Relationships xmlns="http://schemas.openxmlformats.org/package/2006/relationships"><Relationship Id="rId1" Type="http://schemas.openxmlformats.org/officeDocument/2006/relationships/theme" Target="../theme/theme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bg>
      <p:bgPr>
        <a:solidFill>
          <a:schemeClr val="lt1"/>
        </a:solidFill>
      </p:bgPr>
    </p:bg>
    <p:spTree>
      <p:nvGrpSpPr>
        <p:cNvPr id="2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chemeClr val="accent3"/>
            </a:solidFill>
            <a:prstDash val="solid"/>
            <a:round/>
            <a:headEnd len="sm" w="sm" type="none"/>
            <a:tailEnd len="sm" w="sm" type="none"/>
          </a:ln>
        </p:spPr>
      </p:sp>
      <p:sp>
        <p:nvSpPr>
          <p:cNvPr id="4" name="Google Shape;4;n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marR="0" rtl="0" algn="l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304800" lvl="1" marL="914400" marR="0" rtl="0" algn="l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Fira Sans"/>
              <a:buChar char="&gt;"/>
              <a:defRPr b="0" i="0" sz="12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304800" lvl="2" marL="1371600" marR="0" rtl="0" algn="l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oto Sans Symbols"/>
              <a:buChar char="−"/>
              <a:defRPr b="0" i="0" sz="12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304800" lvl="3" marL="1828800" marR="0" rtl="0" algn="l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oto Sans Symbols"/>
              <a:buChar char="−"/>
              <a:defRPr b="0" i="0" sz="12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304800" lvl="4" marL="2286000" marR="0" rtl="0" algn="l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oto Sans Symbols"/>
              <a:buChar char="−"/>
              <a:defRPr b="0" i="0" sz="12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304800" lvl="5" marL="2743200" marR="0" rtl="0" algn="l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oto Sans Symbols"/>
              <a:buChar char="−"/>
              <a:defRPr b="0" i="0" sz="12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304800" lvl="6" marL="3200400" marR="0" rtl="0" algn="l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oto Sans Symbols"/>
              <a:buChar char="−"/>
              <a:defRPr b="0" i="0" sz="12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304800" lvl="7" marL="3657600" marR="0" rtl="0" algn="l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oto Sans Symbols"/>
              <a:buChar char="−"/>
              <a:defRPr b="0" i="0" sz="12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304800" lvl="8" marL="4114800" marR="0" rtl="0" algn="l">
              <a:lnSpc>
                <a:spcPct val="110000"/>
              </a:lnSpc>
              <a:spcBef>
                <a:spcPts val="100"/>
              </a:spcBef>
              <a:spcAft>
                <a:spcPts val="100"/>
              </a:spcAft>
              <a:buClr>
                <a:schemeClr val="dk1"/>
              </a:buClr>
              <a:buSzPts val="1200"/>
              <a:buFont typeface="Noto Sans Symbols"/>
              <a:buChar char="−"/>
              <a:defRPr b="0" i="0" sz="12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5" name="Google Shape;5;n"/>
          <p:cNvSpPr txBox="1"/>
          <p:nvPr>
            <p:ph idx="3" type="hdr"/>
          </p:nvPr>
        </p:nvSpPr>
        <p:spPr>
          <a:xfrm>
            <a:off x="476672" y="251520"/>
            <a:ext cx="2971800" cy="216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Fira Sans"/>
              <a:buNone/>
              <a:defRPr b="0" i="0" sz="12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lvl="1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Char char="&gt;"/>
              <a:defRPr b="0" i="0" sz="14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lvl="2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−"/>
              <a:defRPr b="0" i="0" sz="14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lvl="3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−"/>
              <a:defRPr b="0" i="0" sz="14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lvl="4" marR="0" rtl="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None/>
              <a:defRPr b="1" i="0" sz="16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lvl="5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  <a:defRPr b="0" i="0" sz="14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lvl="6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Char char="&gt;"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lvl="7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Char char="&gt;"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lvl="8" marR="0" rtl="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2"/>
              </a:buClr>
              <a:buSzPts val="1000"/>
              <a:buFont typeface="Noto Sans Symbols"/>
              <a:buChar char="−"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6" name="Google Shape;6;n"/>
          <p:cNvSpPr txBox="1"/>
          <p:nvPr>
            <p:ph idx="10" type="dt"/>
          </p:nvPr>
        </p:nvSpPr>
        <p:spPr>
          <a:xfrm>
            <a:off x="5157192" y="8676456"/>
            <a:ext cx="720000" cy="216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  <a:defRPr b="0" i="0" sz="10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Noto Sans Symbols"/>
              <a:buNone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Noto Sans Symbols"/>
              <a:buNone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Noto Sans Symbols"/>
              <a:buNone/>
              <a:defRPr b="0" i="0" sz="10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Noto Sans Symbols"/>
              <a:buNone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7" name="Google Shape;7;n"/>
          <p:cNvSpPr txBox="1"/>
          <p:nvPr>
            <p:ph idx="11" type="ftr"/>
          </p:nvPr>
        </p:nvSpPr>
        <p:spPr>
          <a:xfrm>
            <a:off x="477192" y="8676456"/>
            <a:ext cx="4140000" cy="216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  <a:defRPr b="0" i="0" sz="10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Noto Sans Symbols"/>
              <a:buNone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Noto Sans Symbols"/>
              <a:buNone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Noto Sans Symbols"/>
              <a:buNone/>
              <a:defRPr b="0" i="0" sz="10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Noto Sans Symbols"/>
              <a:buNone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8" name="Google Shape;8;n"/>
          <p:cNvSpPr txBox="1"/>
          <p:nvPr>
            <p:ph idx="12" type="sldNum"/>
          </p:nvPr>
        </p:nvSpPr>
        <p:spPr>
          <a:xfrm>
            <a:off x="6021328" y="8685213"/>
            <a:ext cx="360000" cy="216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marR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</a:pPr>
            <a:fld id="{00000000-1234-1234-1234-123412341234}" type="slidenum">
              <a:rPr b="0" i="0" lang="it-IT" sz="10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rPr>
              <a:t>‹#›</a:t>
            </a:fld>
            <a:endParaRPr b="0" i="0" sz="1000" u="none" cap="none" strike="noStrike">
              <a:solidFill>
                <a:schemeClr val="dk2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</p:spTree>
  </p:cSld>
  <p:clrMap accent1="accent1" accent2="accent2" accent3="accent3" accent4="accent4" accent5="accent5" accent6="accent6" bg1="lt1" bg2="dk2" tx1="dk1" tx2="lt2" folHlink="folHlink" hlink="hlink"/>
  <p:notesStyle>
    <a:defPPr lvl="0" marR="0" rtl="0" algn="l">
      <a:lnSpc>
        <a:spcPct val="100000"/>
      </a:lnSpc>
      <a:spcBef>
        <a:spcPts val="0"/>
      </a:spcBef>
      <a:spcAft>
        <a:spcPts val="0"/>
      </a:spcAft>
    </a:defPPr>
    <a:lvl1pPr lvl="0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1pPr>
    <a:lvl2pPr lvl="1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2pPr>
    <a:lvl3pPr lvl="2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3pPr>
    <a:lvl4pPr lvl="3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4pPr>
    <a:lvl5pPr lvl="4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5pPr>
    <a:lvl6pPr lvl="5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6pPr>
    <a:lvl7pPr lvl="6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7pPr>
    <a:lvl8pPr lvl="7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8pPr>
    <a:lvl9pPr lvl="8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9pPr>
  </p:notesStyle>
  <p:extLst>
    <p:ext uri="{620B2872-D7B9-4A21-9093-7833F8D536E1}">
      <p15:sldGuideLst>
        <p15:guide id="1" pos="302">
          <p15:clr>
            <a:srgbClr val="F26B43"/>
          </p15:clr>
        </p15:guide>
        <p15:guide id="2" pos="402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827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1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829" name="Google Shape;829;p1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960" name="Shape 9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1" name="Google Shape;961;g3a84205419e_0_66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962" name="Google Shape;962;g3a84205419e_0_66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971" name="Shape 9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" name="Google Shape;972;g3a84205419e_0_88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973" name="Google Shape;973;g3a84205419e_0_88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980" name="Shape 9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" name="Google Shape;981;g3aaba1d86ca_2_3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982" name="Google Shape;982;g3aaba1d86ca_2_3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989" name="Shape 9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0" name="Google Shape;990;g3a8d1f6c51f_12_44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991" name="Google Shape;991;g3a8d1f6c51f_12_44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998" name="Shape 9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" name="Google Shape;999;g3a8f18422b6_5_0:notes"/>
          <p:cNvSpPr/>
          <p:nvPr>
            <p:ph idx="2" type="sldImg"/>
          </p:nvPr>
        </p:nvSpPr>
        <p:spPr>
          <a:xfrm>
            <a:off x="476250" y="611188"/>
            <a:ext cx="5903913" cy="332105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chemeClr val="accent3"/>
            </a:solidFill>
            <a:prstDash val="solid"/>
            <a:round/>
            <a:headEnd len="sm" w="sm" type="none"/>
            <a:tailEnd len="sm" w="sm" type="none"/>
          </a:ln>
        </p:spPr>
      </p:sp>
      <p:sp>
        <p:nvSpPr>
          <p:cNvPr id="1000" name="Google Shape;1000;g3a8f18422b6_5_0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001" name="Google Shape;1001;g3a8f18422b6_5_0:notes"/>
          <p:cNvSpPr txBox="1"/>
          <p:nvPr>
            <p:ph idx="10" type="dt"/>
          </p:nvPr>
        </p:nvSpPr>
        <p:spPr>
          <a:xfrm>
            <a:off x="5157192" y="8676456"/>
            <a:ext cx="720000" cy="216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</a:pPr>
            <a:r>
              <a:rPr lang="it-IT"/>
              <a:t>01/10/25</a:t>
            </a:r>
            <a:endParaRPr/>
          </a:p>
        </p:txBody>
      </p:sp>
      <p:sp>
        <p:nvSpPr>
          <p:cNvPr id="1002" name="Google Shape;1002;g3a8f18422b6_5_0:notes"/>
          <p:cNvSpPr txBox="1"/>
          <p:nvPr>
            <p:ph idx="11" type="ftr"/>
          </p:nvPr>
        </p:nvSpPr>
        <p:spPr>
          <a:xfrm>
            <a:off x="477192" y="8676456"/>
            <a:ext cx="4140000" cy="216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1003" name="Google Shape;1003;g3a8f18422b6_5_0:notes"/>
          <p:cNvSpPr txBox="1"/>
          <p:nvPr>
            <p:ph idx="12" type="sldNum"/>
          </p:nvPr>
        </p:nvSpPr>
        <p:spPr>
          <a:xfrm>
            <a:off x="6021328" y="8685213"/>
            <a:ext cx="360000" cy="216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</a:pPr>
            <a:fld id="{00000000-1234-1234-1234-123412341234}" type="slidenum">
              <a:rPr lang="it-IT" sz="1000"/>
              <a:t>‹#›</a:t>
            </a:fld>
            <a:endParaRPr sz="100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1013" name="Shape 10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4" name="Google Shape;1014;p5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015" name="Google Shape;1015;p5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1022" name="Shape 10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3" name="Google Shape;1023;g3aaba1d86ca_2_26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024" name="Google Shape;1024;g3aaba1d86ca_2_26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1031" name="Shape 1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Google Shape;1032;g3aa2e84f113_0_0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33" name="Google Shape;1033;g3aa2e84f113_0_0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034" name="Google Shape;1034;g3aa2e84f113_0_0:notes"/>
          <p:cNvSpPr txBox="1"/>
          <p:nvPr>
            <p:ph idx="12" type="sldNum"/>
          </p:nvPr>
        </p:nvSpPr>
        <p:spPr>
          <a:xfrm>
            <a:off x="6021328" y="8685213"/>
            <a:ext cx="360000" cy="216000"/>
          </a:xfrm>
          <a:prstGeom prst="rect">
            <a:avLst/>
          </a:prstGeom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1044" name="Shape 10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5" name="Google Shape;1045;g3aa2e84f113_0_13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46" name="Google Shape;1046;g3aa2e84f113_0_13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047" name="Google Shape;1047;g3aa2e84f113_0_13:notes"/>
          <p:cNvSpPr txBox="1"/>
          <p:nvPr>
            <p:ph idx="12" type="sldNum"/>
          </p:nvPr>
        </p:nvSpPr>
        <p:spPr>
          <a:xfrm>
            <a:off x="6021328" y="8685213"/>
            <a:ext cx="360000" cy="216000"/>
          </a:xfrm>
          <a:prstGeom prst="rect">
            <a:avLst/>
          </a:prstGeom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1053" name="Shape 10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" name="Google Shape;1054;g3aa2e84f113_0_24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55" name="Google Shape;1055;g3aa2e84f113_0_24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056" name="Google Shape;1056;g3aa2e84f113_0_24:notes"/>
          <p:cNvSpPr txBox="1"/>
          <p:nvPr>
            <p:ph idx="12" type="sldNum"/>
          </p:nvPr>
        </p:nvSpPr>
        <p:spPr>
          <a:xfrm>
            <a:off x="6021328" y="8685213"/>
            <a:ext cx="360000" cy="216000"/>
          </a:xfrm>
          <a:prstGeom prst="rect">
            <a:avLst/>
          </a:prstGeom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835" name="Shape 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6" name="Google Shape;836;p3:notes"/>
          <p:cNvSpPr/>
          <p:nvPr>
            <p:ph idx="2" type="sldImg"/>
          </p:nvPr>
        </p:nvSpPr>
        <p:spPr>
          <a:xfrm>
            <a:off x="476250" y="611188"/>
            <a:ext cx="5903913" cy="332105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chemeClr val="accent3"/>
            </a:solidFill>
            <a:prstDash val="solid"/>
            <a:round/>
            <a:headEnd len="sm" w="sm" type="none"/>
            <a:tailEnd len="sm" w="sm" type="none"/>
          </a:ln>
        </p:spPr>
      </p:sp>
      <p:sp>
        <p:nvSpPr>
          <p:cNvPr id="837" name="Google Shape;837;p3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838" name="Google Shape;838;p3:notes"/>
          <p:cNvSpPr txBox="1"/>
          <p:nvPr>
            <p:ph idx="10" type="dt"/>
          </p:nvPr>
        </p:nvSpPr>
        <p:spPr>
          <a:xfrm>
            <a:off x="5157192" y="8676456"/>
            <a:ext cx="720000" cy="216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</a:pPr>
            <a:r>
              <a:rPr lang="it-IT"/>
              <a:t>22/11/25</a:t>
            </a:r>
            <a:endParaRPr/>
          </a:p>
        </p:txBody>
      </p:sp>
      <p:sp>
        <p:nvSpPr>
          <p:cNvPr id="839" name="Google Shape;839;p3:notes"/>
          <p:cNvSpPr txBox="1"/>
          <p:nvPr>
            <p:ph idx="11" type="ftr"/>
          </p:nvPr>
        </p:nvSpPr>
        <p:spPr>
          <a:xfrm>
            <a:off x="477192" y="8676456"/>
            <a:ext cx="4140000" cy="216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840" name="Google Shape;840;p3:notes"/>
          <p:cNvSpPr txBox="1"/>
          <p:nvPr>
            <p:ph idx="12" type="sldNum"/>
          </p:nvPr>
        </p:nvSpPr>
        <p:spPr>
          <a:xfrm>
            <a:off x="6021328" y="8685213"/>
            <a:ext cx="360000" cy="216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</a:pPr>
            <a:fld id="{00000000-1234-1234-1234-123412341234}" type="slidenum">
              <a:rPr lang="it-IT" sz="1000"/>
              <a:t>‹#›</a:t>
            </a:fld>
            <a:endParaRPr sz="100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1064" name="Shape 1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Google Shape;1065;g3aa2e84f113_0_35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6" name="Google Shape;1066;g3aa2e84f113_0_35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067" name="Google Shape;1067;g3aa2e84f113_0_35:notes"/>
          <p:cNvSpPr txBox="1"/>
          <p:nvPr>
            <p:ph idx="12" type="sldNum"/>
          </p:nvPr>
        </p:nvSpPr>
        <p:spPr>
          <a:xfrm>
            <a:off x="6021328" y="8685213"/>
            <a:ext cx="360000" cy="216000"/>
          </a:xfrm>
          <a:prstGeom prst="rect">
            <a:avLst/>
          </a:prstGeom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1072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3" name="Google Shape;1073;g3a8f18422b6_1_0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074" name="Google Shape;1074;g3a8f18422b6_1_0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1087" name="Shape 10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8" name="Google Shape;1088;g3a8d1f6c51f_12_73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089" name="Google Shape;1089;g3a8d1f6c51f_12_73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1098" name="Shape 10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9" name="Google Shape;1099;g3a84205419e_0_59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100" name="Google Shape;1100;g3a84205419e_0_59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1110" name="Shape 1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1" name="Google Shape;1111;g3a84205419e_0_2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112" name="Google Shape;1112;g3a84205419e_0_2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1119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g3aaba1d86ca_2_12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121" name="Google Shape;1121;g3aaba1d86ca_2_12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1129" name="Shape 1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" name="Google Shape;1130;p7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131" name="Google Shape;1131;p7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853" name="Shape 8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" name="Google Shape;854;g3a84205419e_0_150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855" name="Google Shape;855;g3a84205419e_0_150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862" name="Shape 8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3" name="Google Shape;863;g3a8d1f6c51f_7_0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864" name="Google Shape;864;g3a8d1f6c51f_7_0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886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7" name="Google Shape;887;g3a84205419e_0_30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888" name="Google Shape;888;g3a84205419e_0_30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895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g3a8d1f6c51f_3_103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897" name="Google Shape;897;g3a8d1f6c51f_3_103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928" name="Shape 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9" name="Google Shape;929;p6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930" name="Google Shape;930;p6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939" name="Shape 9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0" name="Google Shape;940;p4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941" name="Google Shape;941;p4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951" name="Shape 9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" name="Google Shape;952;g3a84205419e_0_52:notes"/>
          <p:cNvSpPr txBox="1"/>
          <p:nvPr>
            <p:ph idx="1" type="body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953" name="Google Shape;953;g3a84205419e_0_52:notes"/>
          <p:cNvSpPr/>
          <p:nvPr>
            <p:ph idx="2" type="sldImg"/>
          </p:nvPr>
        </p:nvSpPr>
        <p:spPr>
          <a:xfrm>
            <a:off x="476672" y="611560"/>
            <a:ext cx="5904000" cy="3321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0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2.png"/><Relationship Id="rId3" Type="http://schemas.openxmlformats.org/officeDocument/2006/relationships/image" Target="../media/image4.png"/><Relationship Id="rId4" Type="http://schemas.openxmlformats.org/officeDocument/2006/relationships/image" Target="../media/image12.png"/></Relationships>
</file>

<file path=ppt/slideLayouts/_rels/slideLayout11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png"/><Relationship Id="rId3" Type="http://schemas.openxmlformats.org/officeDocument/2006/relationships/image" Target="../media/image5.png"/><Relationship Id="rId4" Type="http://schemas.openxmlformats.org/officeDocument/2006/relationships/image" Target="../media/image10.png"/></Relationships>
</file>

<file path=ppt/slideLayouts/_rels/slideLayout12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2.png"/><Relationship Id="rId3" Type="http://schemas.openxmlformats.org/officeDocument/2006/relationships/image" Target="../media/image4.png"/></Relationships>
</file>

<file path=ppt/slideLayouts/_rels/slideLayout14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0.png"/><Relationship Id="rId3" Type="http://schemas.openxmlformats.org/officeDocument/2006/relationships/image" Target="../media/image5.png"/><Relationship Id="rId4" Type="http://schemas.openxmlformats.org/officeDocument/2006/relationships/image" Target="../media/image11.png"/><Relationship Id="rId5" Type="http://schemas.openxmlformats.org/officeDocument/2006/relationships/image" Target="../media/image10.png"/></Relationships>
</file>

<file path=ppt/slideLayouts/_rels/slideLayout15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22.png"/><Relationship Id="rId4" Type="http://schemas.openxmlformats.org/officeDocument/2006/relationships/image" Target="../media/image12.png"/></Relationships>
</file>

<file path=ppt/slideLayouts/_rels/slideLayout16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7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22.png"/></Relationships>
</file>

<file path=ppt/slideLayouts/_rels/slideLayout18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11.png"/><Relationship Id="rId4" Type="http://schemas.openxmlformats.org/officeDocument/2006/relationships/image" Target="../media/image5.png"/></Relationships>
</file>

<file path=ppt/slideLayouts/_rels/slideLayout19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vmlDrawing" Target="../drawings/vmlDrawing4.vml"/><Relationship Id="rId3" Type="http://schemas.openxmlformats.org/officeDocument/2006/relationships/oleObject" Target="../embeddings/oleObject4.bin"/><Relationship Id="rId4" Type="http://schemas.openxmlformats.org/officeDocument/2006/relationships/oleObject" Target="../embeddings/oleObject4.bin"/><Relationship Id="rId5" Type="http://schemas.openxmlformats.org/officeDocument/2006/relationships/image" Target="../media/image7.png"/></Relationships>
</file>

<file path=ppt/slideLayouts/_rels/slideLayout2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vmlDrawing" Target="../drawings/vmlDrawing5.vml"/><Relationship Id="rId3" Type="http://schemas.openxmlformats.org/officeDocument/2006/relationships/oleObject" Target="../embeddings/oleObject5.bin"/><Relationship Id="rId4" Type="http://schemas.openxmlformats.org/officeDocument/2006/relationships/oleObject" Target="../embeddings/oleObject5.bin"/><Relationship Id="rId5" Type="http://schemas.openxmlformats.org/officeDocument/2006/relationships/image" Target="../media/image7.png"/></Relationships>
</file>

<file path=ppt/slideLayouts/_rels/slideLayout21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5.png"/><Relationship Id="rId4" Type="http://schemas.openxmlformats.org/officeDocument/2006/relationships/image" Target="../media/image10.png"/></Relationships>
</file>

<file path=ppt/slideLayouts/_rels/slideLayout22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5.png"/><Relationship Id="rId4" Type="http://schemas.openxmlformats.org/officeDocument/2006/relationships/image" Target="../media/image10.png"/></Relationships>
</file>

<file path=ppt/slideLayouts/_rels/slideLayout26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12.png"/></Relationships>
</file>

<file path=ppt/slideLayouts/_rels/slideLayout27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0.png"/></Relationships>
</file>

<file path=ppt/slideLayouts/_rels/slideLayout28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12.png"/></Relationships>
</file>

<file path=ppt/slideLayouts/_rels/slideLayout29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0.png"/></Relationships>
</file>

<file path=ppt/slideLayouts/_rels/slideLayout3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vmlDrawing" Target="../drawings/vmlDrawing1.vml"/><Relationship Id="rId3" Type="http://schemas.openxmlformats.org/officeDocument/2006/relationships/oleObject" Target="../embeddings/oleObject1.bin"/><Relationship Id="rId4" Type="http://schemas.openxmlformats.org/officeDocument/2006/relationships/oleObject" Target="../embeddings/oleObject1.bin"/><Relationship Id="rId5" Type="http://schemas.openxmlformats.org/officeDocument/2006/relationships/image" Target="../media/image7.png"/><Relationship Id="rId6" Type="http://schemas.openxmlformats.org/officeDocument/2006/relationships/image" Target="../media/image2.png"/><Relationship Id="rId7" Type="http://schemas.openxmlformats.org/officeDocument/2006/relationships/image" Target="../media/image5.png"/></Relationships>
</file>

<file path=ppt/slideLayouts/_rels/slideLayout30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5.png"/><Relationship Id="rId4" Type="http://schemas.openxmlformats.org/officeDocument/2006/relationships/image" Target="../media/image10.png"/></Relationships>
</file>

<file path=ppt/slideLayouts/_rels/slideLayout32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12.png"/></Relationships>
</file>

<file path=ppt/slideLayouts/_rels/slideLayout33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0.png"/></Relationships>
</file>

<file path=ppt/slideLayouts/_rels/slideLayout34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0.png"/><Relationship Id="rId4" Type="http://schemas.openxmlformats.org/officeDocument/2006/relationships/image" Target="../media/image29.png"/></Relationships>
</file>

<file path=ppt/slideLayouts/_rels/slideLayout36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vmlDrawing" Target="../drawings/vmlDrawing6.vml"/><Relationship Id="rId3" Type="http://schemas.openxmlformats.org/officeDocument/2006/relationships/oleObject" Target="../embeddings/oleObject6.bin"/><Relationship Id="rId4" Type="http://schemas.openxmlformats.org/officeDocument/2006/relationships/oleObject" Target="../embeddings/oleObject6.bin"/><Relationship Id="rId9" Type="http://schemas.openxmlformats.org/officeDocument/2006/relationships/image" Target="../media/image24.png"/><Relationship Id="rId5" Type="http://schemas.openxmlformats.org/officeDocument/2006/relationships/image" Target="../media/image7.png"/><Relationship Id="rId6" Type="http://schemas.openxmlformats.org/officeDocument/2006/relationships/image" Target="../media/image2.png"/><Relationship Id="rId7" Type="http://schemas.openxmlformats.org/officeDocument/2006/relationships/image" Target="../media/image5.png"/><Relationship Id="rId8" Type="http://schemas.openxmlformats.org/officeDocument/2006/relationships/image" Target="../media/image37.png"/></Relationships>
</file>

<file path=ppt/slideLayouts/_rels/slideLayout37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5.png"/><Relationship Id="rId4" Type="http://schemas.openxmlformats.org/officeDocument/2006/relationships/image" Target="../media/image10.png"/></Relationships>
</file>

<file path=ppt/slideLayouts/_rels/slideLayout38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0.png"/></Relationships>
</file>

<file path=ppt/slideLayouts/_rels/slideLayout39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7.png"/></Relationships>
</file>

<file path=ppt/slideLayouts/_rels/slideLayout4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vmlDrawing" Target="../drawings/vmlDrawing2.vml"/><Relationship Id="rId3" Type="http://schemas.openxmlformats.org/officeDocument/2006/relationships/oleObject" Target="../embeddings/oleObject2.bin"/><Relationship Id="rId4" Type="http://schemas.openxmlformats.org/officeDocument/2006/relationships/oleObject" Target="../embeddings/oleObject2.bin"/><Relationship Id="rId5" Type="http://schemas.openxmlformats.org/officeDocument/2006/relationships/image" Target="../media/image7.png"/><Relationship Id="rId6" Type="http://schemas.openxmlformats.org/officeDocument/2006/relationships/image" Target="../media/image2.png"/><Relationship Id="rId7" Type="http://schemas.openxmlformats.org/officeDocument/2006/relationships/image" Target="../media/image5.png"/><Relationship Id="rId8" Type="http://schemas.openxmlformats.org/officeDocument/2006/relationships/image" Target="../media/image10.png"/></Relationships>
</file>

<file path=ppt/slideLayouts/_rels/slideLayout40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Relationship Id="rId3" Type="http://schemas.openxmlformats.org/officeDocument/2006/relationships/image" Target="../media/image22.png"/><Relationship Id="rId4" Type="http://schemas.openxmlformats.org/officeDocument/2006/relationships/image" Target="../media/image32.png"/></Relationships>
</file>

<file path=ppt/slideLayouts/_rels/slideLayout41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Relationship Id="rId3" Type="http://schemas.openxmlformats.org/officeDocument/2006/relationships/image" Target="../media/image5.png"/><Relationship Id="rId4" Type="http://schemas.openxmlformats.org/officeDocument/2006/relationships/image" Target="../media/image27.png"/></Relationships>
</file>

<file path=ppt/slideLayouts/_rels/slideLayout43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Relationship Id="rId3" Type="http://schemas.openxmlformats.org/officeDocument/2006/relationships/image" Target="../media/image5.png"/><Relationship Id="rId4" Type="http://schemas.openxmlformats.org/officeDocument/2006/relationships/image" Target="../media/image27.png"/></Relationships>
</file>

<file path=ppt/slideLayouts/_rels/slideLayout44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/Relationships>
</file>

<file path=ppt/slideLayouts/_rels/slideLayout47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openxmlformats.org/officeDocument/2006/relationships/image" Target="../media/image27.png"/></Relationships>
</file>

<file path=ppt/slideLayouts/_rels/slideLayout48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png"/><Relationship Id="rId3" Type="http://schemas.openxmlformats.org/officeDocument/2006/relationships/image" Target="../media/image5.png"/><Relationship Id="rId4" Type="http://schemas.openxmlformats.org/officeDocument/2006/relationships/image" Target="../media/image27.png"/></Relationships>
</file>

<file path=ppt/slideLayouts/_rels/slideLayout49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2.png"/><Relationship Id="rId4" Type="http://schemas.openxmlformats.org/officeDocument/2006/relationships/image" Target="../media/image5.png"/><Relationship Id="rId5" Type="http://schemas.openxmlformats.org/officeDocument/2006/relationships/image" Target="../media/image27.png"/></Relationships>
</file>

<file path=ppt/slideLayouts/_rels/slideLayout5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vmlDrawing" Target="../drawings/vmlDrawing3.vml"/><Relationship Id="rId3" Type="http://schemas.openxmlformats.org/officeDocument/2006/relationships/oleObject" Target="../embeddings/oleObject3.bin"/><Relationship Id="rId4" Type="http://schemas.openxmlformats.org/officeDocument/2006/relationships/oleObject" Target="../embeddings/oleObject3.bin"/><Relationship Id="rId5" Type="http://schemas.openxmlformats.org/officeDocument/2006/relationships/image" Target="../media/image7.png"/><Relationship Id="rId6" Type="http://schemas.openxmlformats.org/officeDocument/2006/relationships/image" Target="../media/image2.png"/><Relationship Id="rId7" Type="http://schemas.openxmlformats.org/officeDocument/2006/relationships/image" Target="../media/image5.png"/><Relationship Id="rId8" Type="http://schemas.openxmlformats.org/officeDocument/2006/relationships/image" Target="../media/image10.png"/></Relationships>
</file>

<file path=ppt/slideLayouts/_rels/slideLayout50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Relationship Id="rId3" Type="http://schemas.openxmlformats.org/officeDocument/2006/relationships/image" Target="../media/image5.png"/><Relationship Id="rId4" Type="http://schemas.openxmlformats.org/officeDocument/2006/relationships/image" Target="../media/image27.png"/></Relationships>
</file>

<file path=ppt/slideLayouts/_rels/slideLayout51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openxmlformats.org/officeDocument/2006/relationships/image" Target="../media/image27.png"/></Relationships>
</file>

<file path=ppt/slideLayouts/_rels/slideLayout53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2.png"/><Relationship Id="rId3" Type="http://schemas.openxmlformats.org/officeDocument/2006/relationships/image" Target="../media/image4.png"/><Relationship Id="rId4" Type="http://schemas.openxmlformats.org/officeDocument/2006/relationships/image" Target="../media/image32.png"/></Relationships>
</file>

<file path=ppt/slideLayouts/_rels/slideLayout54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2.png"/><Relationship Id="rId4" Type="http://schemas.openxmlformats.org/officeDocument/2006/relationships/image" Target="../media/image5.png"/><Relationship Id="rId5" Type="http://schemas.openxmlformats.org/officeDocument/2006/relationships/image" Target="../media/image27.png"/></Relationships>
</file>

<file path=ppt/slideLayouts/_rels/slideLayout55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0.png"/><Relationship Id="rId3" Type="http://schemas.openxmlformats.org/officeDocument/2006/relationships/image" Target="../media/image5.png"/><Relationship Id="rId4" Type="http://schemas.openxmlformats.org/officeDocument/2006/relationships/image" Target="../media/image11.png"/><Relationship Id="rId5" Type="http://schemas.openxmlformats.org/officeDocument/2006/relationships/image" Target="../media/image27.png"/></Relationships>
</file>

<file path=ppt/slideLayouts/_rels/slideLayout57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0.png"/><Relationship Id="rId3" Type="http://schemas.openxmlformats.org/officeDocument/2006/relationships/image" Target="../media/image5.png"/><Relationship Id="rId4" Type="http://schemas.openxmlformats.org/officeDocument/2006/relationships/image" Target="../media/image11.png"/><Relationship Id="rId5" Type="http://schemas.openxmlformats.org/officeDocument/2006/relationships/image" Target="../media/image27.png"/></Relationships>
</file>

<file path=ppt/slideLayouts/_rels/slideLayout58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3.png"/><Relationship Id="rId3" Type="http://schemas.openxmlformats.org/officeDocument/2006/relationships/image" Target="../media/image5.png"/><Relationship Id="rId4" Type="http://schemas.openxmlformats.org/officeDocument/2006/relationships/image" Target="../media/image27.png"/></Relationships>
</file>

<file path=ppt/slideLayouts/_rels/slideLayout59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openxmlformats.org/officeDocument/2006/relationships/image" Target="../media/image11.png"/><Relationship Id="rId4" Type="http://schemas.openxmlformats.org/officeDocument/2006/relationships/image" Target="../media/image27.png"/></Relationships>
</file>

<file path=ppt/slideLayouts/_rels/slideLayout6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5.png"/><Relationship Id="rId3" Type="http://schemas.openxmlformats.org/officeDocument/2006/relationships/image" Target="../media/image10.png"/><Relationship Id="rId4" Type="http://schemas.openxmlformats.org/officeDocument/2006/relationships/image" Target="../media/image16.png"/><Relationship Id="rId5" Type="http://schemas.openxmlformats.org/officeDocument/2006/relationships/image" Target="../media/image17.png"/><Relationship Id="rId6" Type="http://schemas.openxmlformats.org/officeDocument/2006/relationships/image" Target="../media/image14.png"/></Relationships>
</file>

<file path=ppt/slideLayouts/_rels/slideLayout60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2.png"/><Relationship Id="rId3" Type="http://schemas.openxmlformats.org/officeDocument/2006/relationships/image" Target="../media/image4.png"/></Relationships>
</file>

<file path=ppt/slideLayouts/_rels/slideLayout62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Relationship Id="rId3" Type="http://schemas.openxmlformats.org/officeDocument/2006/relationships/image" Target="../media/image22.png"/><Relationship Id="rId4" Type="http://schemas.openxmlformats.org/officeDocument/2006/relationships/image" Target="../media/image32.png"/></Relationships>
</file>

<file path=ppt/slideLayouts/_rels/slideLayout63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openxmlformats.org/officeDocument/2006/relationships/image" Target="../media/image11.png"/><Relationship Id="rId4" Type="http://schemas.openxmlformats.org/officeDocument/2006/relationships/image" Target="../media/image27.png"/></Relationships>
</file>

<file path=ppt/slideLayouts/_rels/slideLayout64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Relationship Id="rId3" Type="http://schemas.openxmlformats.org/officeDocument/2006/relationships/image" Target="../media/image22.png"/></Relationships>
</file>

<file path=ppt/slideLayouts/_rels/slideLayout65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Relationship Id="rId3" Type="http://schemas.openxmlformats.org/officeDocument/2006/relationships/image" Target="../media/image11.png"/><Relationship Id="rId4" Type="http://schemas.openxmlformats.org/officeDocument/2006/relationships/image" Target="../media/image5.png"/></Relationships>
</file>

<file path=ppt/slideLayouts/_rels/slideLayout66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/Relationships>
</file>

<file path=ppt/slideLayouts/_rels/slideLayout67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slideLayouts/_rels/slideLayout68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Relationship Id="rId3" Type="http://schemas.openxmlformats.org/officeDocument/2006/relationships/image" Target="../media/image32.png"/></Relationships>
</file>

<file path=ppt/slideLayouts/_rels/slideLayout69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Relationship Id="rId3" Type="http://schemas.openxmlformats.org/officeDocument/2006/relationships/image" Target="../media/image32.png"/></Relationships>
</file>

<file path=ppt/slideLayouts/_rels/slideLayout7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png"/></Relationships>
</file>

<file path=ppt/slideLayouts/_rels/slideLayout70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openxmlformats.org/officeDocument/2006/relationships/image" Target="../media/image27.png"/></Relationships>
</file>

<file path=ppt/slideLayouts/_rels/slideLayout71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Relationship Id="rId3" Type="http://schemas.openxmlformats.org/officeDocument/2006/relationships/image" Target="../media/image32.png"/></Relationships>
</file>

<file path=ppt/slideLayouts/_rels/slideLayout73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openxmlformats.org/officeDocument/2006/relationships/image" Target="../media/image27.png"/><Relationship Id="rId4" Type="http://schemas.openxmlformats.org/officeDocument/2006/relationships/image" Target="../media/image29.png"/></Relationships>
</file>

<file path=ppt/slideLayouts/_rels/slideLayout74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2.png"/><Relationship Id="rId4" Type="http://schemas.openxmlformats.org/officeDocument/2006/relationships/image" Target="../media/image5.png"/><Relationship Id="rId5" Type="http://schemas.openxmlformats.org/officeDocument/2006/relationships/image" Target="../media/image37.png"/><Relationship Id="rId6" Type="http://schemas.openxmlformats.org/officeDocument/2006/relationships/image" Target="../media/image24.png"/></Relationships>
</file>

<file path=ppt/slideLayouts/_rels/slideLayout75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openxmlformats.org/officeDocument/2006/relationships/image" Target="../media/image27.png"/></Relationships>
</file>

<file path=ppt/slideLayouts/_rels/slideLayout8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22.png"/><Relationship Id="rId4" Type="http://schemas.openxmlformats.org/officeDocument/2006/relationships/image" Target="../media/image12.png"/></Relationships>
</file>

<file path=ppt/slideLayouts/_rels/slideLayout9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0.png"/><Relationship Id="rId3" Type="http://schemas.openxmlformats.org/officeDocument/2006/relationships/image" Target="../media/image5.png"/><Relationship Id="rId4" Type="http://schemas.openxmlformats.org/officeDocument/2006/relationships/image" Target="../media/image11.png"/><Relationship Id="rId5" Type="http://schemas.openxmlformats.org/officeDocument/2006/relationships/image" Target="../media/image10.png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leslide BLUE" showMasterSp="0">
  <p:cSld name="Titleslide BLUE">
    <p:bg>
      <p:bgPr>
        <a:solidFill>
          <a:schemeClr val="dk2"/>
        </a:solidFill>
      </p:bgPr>
    </p:bg>
    <p:spTree>
      <p:nvGrpSpPr>
        <p:cNvPr id="57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9"/>
          <p:cNvSpPr txBox="1"/>
          <p:nvPr>
            <p:ph type="title"/>
          </p:nvPr>
        </p:nvSpPr>
        <p:spPr>
          <a:xfrm>
            <a:off x="768001" y="1269000"/>
            <a:ext cx="8280750" cy="1800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Font typeface="Fira Sans Condensed"/>
              <a:buNone/>
              <a:defRPr sz="52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59" name="Google Shape;59;p9"/>
          <p:cNvSpPr txBox="1"/>
          <p:nvPr>
            <p:ph idx="1" type="subTitle"/>
          </p:nvPr>
        </p:nvSpPr>
        <p:spPr>
          <a:xfrm>
            <a:off x="768001" y="3213000"/>
            <a:ext cx="8280749" cy="1872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9pPr>
          </a:lstStyle>
          <a:p/>
        </p:txBody>
      </p:sp>
      <p:sp>
        <p:nvSpPr>
          <p:cNvPr id="60" name="Google Shape;60;p9"/>
          <p:cNvSpPr txBox="1"/>
          <p:nvPr>
            <p:ph idx="2" type="body"/>
          </p:nvPr>
        </p:nvSpPr>
        <p:spPr>
          <a:xfrm>
            <a:off x="768349" y="6381100"/>
            <a:ext cx="8280401" cy="216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pic>
        <p:nvPicPr>
          <p:cNvPr id="61" name="Google Shape;61;p9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4080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Google Shape;62;p9"/>
          <p:cNvSpPr txBox="1"/>
          <p:nvPr>
            <p:ph idx="3" type="body"/>
          </p:nvPr>
        </p:nvSpPr>
        <p:spPr>
          <a:xfrm>
            <a:off x="10920000" y="5445000"/>
            <a:ext cx="720000" cy="7200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pic>
        <p:nvPicPr>
          <p:cNvPr id="63" name="Google Shape;63;p9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9912967" y="509517"/>
            <a:ext cx="1727034" cy="53685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7332">
          <p15:clr>
            <a:srgbClr val="FBAE40"/>
          </p15:clr>
        </p15:guide>
        <p15:guide id="2" pos="484">
          <p15:clr>
            <a:srgbClr val="FBAE40"/>
          </p15:clr>
        </p15:guide>
        <p15:guide id="3" orient="horz" pos="2024">
          <p15:clr>
            <a:srgbClr val="FBAE40"/>
          </p15:clr>
        </p15:guide>
        <p15:guide id="4" orient="horz" pos="193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leslide Picture BRIGHT" showMasterSp="0">
  <p:cSld name="Titleslide Picture BRIGHT">
    <p:spTree>
      <p:nvGrpSpPr>
        <p:cNvPr id="135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p18"/>
          <p:cNvSpPr/>
          <p:nvPr>
            <p:ph idx="2" type="pic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37" name="Google Shape;137;p18"/>
          <p:cNvSpPr txBox="1"/>
          <p:nvPr>
            <p:ph idx="1" type="body"/>
          </p:nvPr>
        </p:nvSpPr>
        <p:spPr>
          <a:xfrm>
            <a:off x="0" y="3717000"/>
            <a:ext cx="12192000" cy="31410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4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9pPr>
          </a:lstStyle>
          <a:p/>
        </p:txBody>
      </p:sp>
      <p:sp>
        <p:nvSpPr>
          <p:cNvPr id="138" name="Google Shape;138;p18"/>
          <p:cNvSpPr txBox="1"/>
          <p:nvPr>
            <p:ph type="title"/>
          </p:nvPr>
        </p:nvSpPr>
        <p:spPr>
          <a:xfrm>
            <a:off x="768001" y="1269000"/>
            <a:ext cx="8280750" cy="1800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200"/>
              <a:buFont typeface="Fira Sans Condensed"/>
              <a:buNone/>
              <a:defRPr sz="5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39" name="Google Shape;139;p18"/>
          <p:cNvSpPr txBox="1"/>
          <p:nvPr>
            <p:ph idx="3" type="subTitle"/>
          </p:nvPr>
        </p:nvSpPr>
        <p:spPr>
          <a:xfrm>
            <a:off x="768001" y="3213000"/>
            <a:ext cx="8280749" cy="1872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9pPr>
          </a:lstStyle>
          <a:p/>
        </p:txBody>
      </p:sp>
      <p:sp>
        <p:nvSpPr>
          <p:cNvPr id="140" name="Google Shape;140;p18"/>
          <p:cNvSpPr txBox="1"/>
          <p:nvPr>
            <p:ph idx="4" type="body"/>
          </p:nvPr>
        </p:nvSpPr>
        <p:spPr>
          <a:xfrm>
            <a:off x="768349" y="6381100"/>
            <a:ext cx="8280401" cy="216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141" name="Google Shape;141;p18"/>
          <p:cNvSpPr txBox="1"/>
          <p:nvPr>
            <p:ph idx="5" type="body"/>
          </p:nvPr>
        </p:nvSpPr>
        <p:spPr>
          <a:xfrm>
            <a:off x="10920000" y="5445000"/>
            <a:ext cx="720000" cy="72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sp>
        <p:nvSpPr>
          <p:cNvPr id="142" name="Google Shape;142;p18"/>
          <p:cNvSpPr txBox="1"/>
          <p:nvPr>
            <p:ph idx="6" type="body"/>
          </p:nvPr>
        </p:nvSpPr>
        <p:spPr>
          <a:xfrm>
            <a:off x="407988" y="6481979"/>
            <a:ext cx="215900" cy="972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pic>
        <p:nvPicPr>
          <p:cNvPr id="143" name="Google Shape;143;p18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9912967" y="509517"/>
            <a:ext cx="1727034" cy="53685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7332">
          <p15:clr>
            <a:srgbClr val="FBAE40"/>
          </p15:clr>
        </p15:guide>
        <p15:guide id="2" pos="484">
          <p15:clr>
            <a:srgbClr val="FBAE40"/>
          </p15:clr>
        </p15:guide>
        <p15:guide id="3" orient="horz" pos="2024">
          <p15:clr>
            <a:srgbClr val="FBAE40"/>
          </p15:clr>
        </p15:guide>
        <p15:guide id="4" orient="horz" pos="193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leslide Picture DARK" showMasterSp="0">
  <p:cSld name="Titleslide Picture DARK">
    <p:spTree>
      <p:nvGrpSpPr>
        <p:cNvPr id="144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oogle Shape;145;p19"/>
          <p:cNvSpPr/>
          <p:nvPr>
            <p:ph idx="2" type="pic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</p:sp>
      <p:sp>
        <p:nvSpPr>
          <p:cNvPr id="146" name="Google Shape;146;p19"/>
          <p:cNvSpPr txBox="1"/>
          <p:nvPr>
            <p:ph idx="1" type="body"/>
          </p:nvPr>
        </p:nvSpPr>
        <p:spPr>
          <a:xfrm>
            <a:off x="0" y="3717000"/>
            <a:ext cx="12192000" cy="3141001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2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None/>
              <a:defRPr/>
            </a:lvl1pPr>
            <a:lvl2pPr indent="-3429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2pPr>
            <a:lvl3pPr indent="-3429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/>
            </a:lvl6pPr>
            <a:lvl7pPr indent="-3429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7pPr>
            <a:lvl8pPr indent="-3429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8pPr>
            <a:lvl9pPr indent="-3429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800"/>
              <a:buChar char="−"/>
              <a:defRPr/>
            </a:lvl9pPr>
          </a:lstStyle>
          <a:p/>
        </p:txBody>
      </p:sp>
      <p:sp>
        <p:nvSpPr>
          <p:cNvPr id="147" name="Google Shape;147;p19"/>
          <p:cNvSpPr txBox="1"/>
          <p:nvPr>
            <p:ph type="title"/>
          </p:nvPr>
        </p:nvSpPr>
        <p:spPr>
          <a:xfrm>
            <a:off x="768001" y="1269000"/>
            <a:ext cx="8280750" cy="1800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Font typeface="Fira Sans Condensed"/>
              <a:buNone/>
              <a:defRPr sz="52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48" name="Google Shape;148;p19"/>
          <p:cNvSpPr txBox="1"/>
          <p:nvPr>
            <p:ph idx="3" type="subTitle"/>
          </p:nvPr>
        </p:nvSpPr>
        <p:spPr>
          <a:xfrm>
            <a:off x="768001" y="3213000"/>
            <a:ext cx="8280749" cy="1872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9pPr>
          </a:lstStyle>
          <a:p/>
        </p:txBody>
      </p:sp>
      <p:sp>
        <p:nvSpPr>
          <p:cNvPr id="149" name="Google Shape;149;p19"/>
          <p:cNvSpPr txBox="1"/>
          <p:nvPr>
            <p:ph idx="4" type="body"/>
          </p:nvPr>
        </p:nvSpPr>
        <p:spPr>
          <a:xfrm>
            <a:off x="768349" y="6381100"/>
            <a:ext cx="8280401" cy="216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150" name="Google Shape;150;p19"/>
          <p:cNvSpPr txBox="1"/>
          <p:nvPr>
            <p:ph idx="5" type="body"/>
          </p:nvPr>
        </p:nvSpPr>
        <p:spPr>
          <a:xfrm>
            <a:off x="10920000" y="5445000"/>
            <a:ext cx="720000" cy="72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sp>
        <p:nvSpPr>
          <p:cNvPr id="151" name="Google Shape;151;p19"/>
          <p:cNvSpPr txBox="1"/>
          <p:nvPr>
            <p:ph idx="6" type="body"/>
          </p:nvPr>
        </p:nvSpPr>
        <p:spPr>
          <a:xfrm>
            <a:off x="407988" y="6481979"/>
            <a:ext cx="215900" cy="972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pic>
        <p:nvPicPr>
          <p:cNvPr id="152" name="Google Shape;152;p19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9912967" y="509517"/>
            <a:ext cx="1727034" cy="53685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7332">
          <p15:clr>
            <a:srgbClr val="FBAE40"/>
          </p15:clr>
        </p15:guide>
        <p15:guide id="2" pos="484">
          <p15:clr>
            <a:srgbClr val="FBAE40"/>
          </p15:clr>
        </p15:guide>
        <p15:guide id="3" orient="horz" pos="2024">
          <p15:clr>
            <a:srgbClr val="FBAE40"/>
          </p15:clr>
        </p15:guide>
        <p15:guide id="4" orient="horz" pos="1933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Agenda alternative">
  <p:cSld name="Agenda alternative">
    <p:spTree>
      <p:nvGrpSpPr>
        <p:cNvPr id="153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Google Shape;154;p20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55" name="Google Shape;155;p20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156" name="Google Shape;156;p20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157" name="Google Shape;157;p20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158" name="Google Shape;158;p20"/>
          <p:cNvSpPr txBox="1"/>
          <p:nvPr>
            <p:ph idx="1" type="body"/>
          </p:nvPr>
        </p:nvSpPr>
        <p:spPr>
          <a:xfrm>
            <a:off x="1055854" y="1773474"/>
            <a:ext cx="648000" cy="46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159" name="Google Shape;159;p20"/>
          <p:cNvSpPr txBox="1"/>
          <p:nvPr>
            <p:ph idx="2" type="body"/>
          </p:nvPr>
        </p:nvSpPr>
        <p:spPr>
          <a:xfrm>
            <a:off x="1775934" y="1773000"/>
            <a:ext cx="4608066" cy="1008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144000" wrap="square" tIns="828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b="1" sz="20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 b="1" sz="1800"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 sz="1400"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Char char="&gt;"/>
              <a:defRPr sz="1400"/>
            </a:lvl4pPr>
            <a:lvl5pPr indent="-3175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5pPr>
            <a:lvl6pPr indent="-3175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6pPr>
            <a:lvl7pPr indent="-3175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7pPr>
            <a:lvl8pPr indent="-3175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8pPr>
            <a:lvl9pPr indent="-3175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9pPr>
          </a:lstStyle>
          <a:p/>
        </p:txBody>
      </p:sp>
      <p:sp>
        <p:nvSpPr>
          <p:cNvPr id="160" name="Google Shape;160;p20"/>
          <p:cNvSpPr txBox="1"/>
          <p:nvPr>
            <p:ph idx="3" type="body"/>
          </p:nvPr>
        </p:nvSpPr>
        <p:spPr>
          <a:xfrm>
            <a:off x="1055854" y="2853474"/>
            <a:ext cx="648000" cy="46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161" name="Google Shape;161;p20"/>
          <p:cNvSpPr txBox="1"/>
          <p:nvPr>
            <p:ph idx="4" type="body"/>
          </p:nvPr>
        </p:nvSpPr>
        <p:spPr>
          <a:xfrm>
            <a:off x="1775934" y="2853000"/>
            <a:ext cx="4608066" cy="1008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144000" wrap="square" tIns="828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b="1" sz="20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 b="1" sz="1800"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 sz="1400"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Char char="&gt;"/>
              <a:defRPr sz="1400"/>
            </a:lvl4pPr>
            <a:lvl5pPr indent="-3175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5pPr>
            <a:lvl6pPr indent="-3175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6pPr>
            <a:lvl7pPr indent="-3175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7pPr>
            <a:lvl8pPr indent="-3175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8pPr>
            <a:lvl9pPr indent="-3175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9pPr>
          </a:lstStyle>
          <a:p/>
        </p:txBody>
      </p:sp>
      <p:sp>
        <p:nvSpPr>
          <p:cNvPr id="162" name="Google Shape;162;p20"/>
          <p:cNvSpPr txBox="1"/>
          <p:nvPr>
            <p:ph idx="5" type="body"/>
          </p:nvPr>
        </p:nvSpPr>
        <p:spPr>
          <a:xfrm>
            <a:off x="1056000" y="3933474"/>
            <a:ext cx="648000" cy="46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163" name="Google Shape;163;p20"/>
          <p:cNvSpPr txBox="1"/>
          <p:nvPr>
            <p:ph idx="6" type="body"/>
          </p:nvPr>
        </p:nvSpPr>
        <p:spPr>
          <a:xfrm>
            <a:off x="1776080" y="3933000"/>
            <a:ext cx="4608066" cy="1008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144000" wrap="square" tIns="828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b="1" sz="20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 b="1" sz="1800"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 sz="1400"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Char char="&gt;"/>
              <a:defRPr sz="1400"/>
            </a:lvl4pPr>
            <a:lvl5pPr indent="-3175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5pPr>
            <a:lvl6pPr indent="-3175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6pPr>
            <a:lvl7pPr indent="-3175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7pPr>
            <a:lvl8pPr indent="-3175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8pPr>
            <a:lvl9pPr indent="-3175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9pPr>
          </a:lstStyle>
          <a:p/>
        </p:txBody>
      </p:sp>
      <p:sp>
        <p:nvSpPr>
          <p:cNvPr id="164" name="Google Shape;164;p20"/>
          <p:cNvSpPr txBox="1"/>
          <p:nvPr>
            <p:ph idx="7" type="body"/>
          </p:nvPr>
        </p:nvSpPr>
        <p:spPr>
          <a:xfrm>
            <a:off x="1056146" y="5013474"/>
            <a:ext cx="648000" cy="46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165" name="Google Shape;165;p20"/>
          <p:cNvSpPr txBox="1"/>
          <p:nvPr>
            <p:ph idx="8" type="body"/>
          </p:nvPr>
        </p:nvSpPr>
        <p:spPr>
          <a:xfrm>
            <a:off x="1776226" y="5013000"/>
            <a:ext cx="4608066" cy="1008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144000" wrap="square" tIns="828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b="1" sz="20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 b="1" sz="1800"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 sz="1400"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Char char="&gt;"/>
              <a:defRPr sz="1400"/>
            </a:lvl4pPr>
            <a:lvl5pPr indent="-3175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5pPr>
            <a:lvl6pPr indent="-3175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6pPr>
            <a:lvl7pPr indent="-3175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7pPr>
            <a:lvl8pPr indent="-3175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8pPr>
            <a:lvl9pPr indent="-3175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9pPr>
          </a:lstStyle>
          <a:p/>
        </p:txBody>
      </p:sp>
      <p:sp>
        <p:nvSpPr>
          <p:cNvPr id="166" name="Google Shape;166;p20"/>
          <p:cNvSpPr txBox="1"/>
          <p:nvPr>
            <p:ph idx="9" type="body"/>
          </p:nvPr>
        </p:nvSpPr>
        <p:spPr>
          <a:xfrm>
            <a:off x="6455854" y="1773474"/>
            <a:ext cx="648000" cy="46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167" name="Google Shape;167;p20"/>
          <p:cNvSpPr txBox="1"/>
          <p:nvPr>
            <p:ph idx="13" type="body"/>
          </p:nvPr>
        </p:nvSpPr>
        <p:spPr>
          <a:xfrm>
            <a:off x="7175934" y="1773000"/>
            <a:ext cx="4608066" cy="1008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144000" wrap="square" tIns="828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b="1" sz="20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 b="1" sz="1800"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 sz="1400"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Char char="&gt;"/>
              <a:defRPr sz="1400"/>
            </a:lvl4pPr>
            <a:lvl5pPr indent="-3175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5pPr>
            <a:lvl6pPr indent="-3175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6pPr>
            <a:lvl7pPr indent="-3175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7pPr>
            <a:lvl8pPr indent="-3175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8pPr>
            <a:lvl9pPr indent="-3175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9pPr>
          </a:lstStyle>
          <a:p/>
        </p:txBody>
      </p:sp>
      <p:sp>
        <p:nvSpPr>
          <p:cNvPr id="168" name="Google Shape;168;p20"/>
          <p:cNvSpPr txBox="1"/>
          <p:nvPr>
            <p:ph idx="14" type="body"/>
          </p:nvPr>
        </p:nvSpPr>
        <p:spPr>
          <a:xfrm>
            <a:off x="6456000" y="2853474"/>
            <a:ext cx="648000" cy="46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169" name="Google Shape;169;p20"/>
          <p:cNvSpPr txBox="1"/>
          <p:nvPr>
            <p:ph idx="15" type="body"/>
          </p:nvPr>
        </p:nvSpPr>
        <p:spPr>
          <a:xfrm>
            <a:off x="7176080" y="2853000"/>
            <a:ext cx="4608066" cy="1008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144000" wrap="square" tIns="828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b="1" sz="20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 b="1" sz="1800"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 sz="1400"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Char char="&gt;"/>
              <a:defRPr sz="1400"/>
            </a:lvl4pPr>
            <a:lvl5pPr indent="-3175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5pPr>
            <a:lvl6pPr indent="-3175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6pPr>
            <a:lvl7pPr indent="-3175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7pPr>
            <a:lvl8pPr indent="-3175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8pPr>
            <a:lvl9pPr indent="-3175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9pPr>
          </a:lstStyle>
          <a:p/>
        </p:txBody>
      </p:sp>
      <p:sp>
        <p:nvSpPr>
          <p:cNvPr id="170" name="Google Shape;170;p20"/>
          <p:cNvSpPr txBox="1"/>
          <p:nvPr>
            <p:ph idx="16" type="body"/>
          </p:nvPr>
        </p:nvSpPr>
        <p:spPr>
          <a:xfrm>
            <a:off x="6456146" y="3933474"/>
            <a:ext cx="648000" cy="46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171" name="Google Shape;171;p20"/>
          <p:cNvSpPr txBox="1"/>
          <p:nvPr>
            <p:ph idx="17" type="body"/>
          </p:nvPr>
        </p:nvSpPr>
        <p:spPr>
          <a:xfrm>
            <a:off x="7176226" y="3933000"/>
            <a:ext cx="4608066" cy="1008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144000" wrap="square" tIns="828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b="1" sz="20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 b="1" sz="1800"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 sz="1400"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Char char="&gt;"/>
              <a:defRPr sz="1400"/>
            </a:lvl4pPr>
            <a:lvl5pPr indent="-3175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5pPr>
            <a:lvl6pPr indent="-3175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6pPr>
            <a:lvl7pPr indent="-3175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7pPr>
            <a:lvl8pPr indent="-3175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8pPr>
            <a:lvl9pPr indent="-3175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9pPr>
          </a:lstStyle>
          <a:p/>
        </p:txBody>
      </p:sp>
      <p:sp>
        <p:nvSpPr>
          <p:cNvPr id="172" name="Google Shape;172;p20"/>
          <p:cNvSpPr txBox="1"/>
          <p:nvPr>
            <p:ph idx="18" type="body"/>
          </p:nvPr>
        </p:nvSpPr>
        <p:spPr>
          <a:xfrm>
            <a:off x="6456292" y="5013474"/>
            <a:ext cx="648000" cy="46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173" name="Google Shape;173;p20"/>
          <p:cNvSpPr txBox="1"/>
          <p:nvPr>
            <p:ph idx="19" type="body"/>
          </p:nvPr>
        </p:nvSpPr>
        <p:spPr>
          <a:xfrm>
            <a:off x="7176372" y="5013000"/>
            <a:ext cx="4608066" cy="1008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144000" wrap="square" tIns="828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b="1" sz="20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 b="1" sz="1800"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 sz="1400"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Char char="&gt;"/>
              <a:defRPr sz="1400"/>
            </a:lvl4pPr>
            <a:lvl5pPr indent="-3175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5pPr>
            <a:lvl6pPr indent="-3175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6pPr>
            <a:lvl7pPr indent="-3175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7pPr>
            <a:lvl8pPr indent="-3175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8pPr>
            <a:lvl9pPr indent="-3175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pos="665">
          <p15:clr>
            <a:srgbClr val="F26B43"/>
          </p15:clr>
        </p15:guide>
        <p15:guide id="3" orient="horz" pos="3883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323">
          <p15:clr>
            <a:srgbClr val="F26B43"/>
          </p15:clr>
        </p15:guide>
        <p15:guide id="6" pos="257">
          <p15:clr>
            <a:srgbClr val="A4A3A4"/>
          </p15:clr>
        </p15:guide>
        <p15:guide id="7" pos="4067">
          <p15:clr>
            <a:srgbClr val="F26B43"/>
          </p15:clr>
        </p15:guide>
        <p15:guide id="8" pos="402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Section Header WHITE">
  <p:cSld name="Section Header WHITE">
    <p:spTree>
      <p:nvGrpSpPr>
        <p:cNvPr id="174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p21"/>
          <p:cNvSpPr/>
          <p:nvPr/>
        </p:nvSpPr>
        <p:spPr>
          <a:xfrm>
            <a:off x="5736000" y="6309000"/>
            <a:ext cx="1080000" cy="54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-76200" lvl="0" marL="1778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Fira Sans"/>
              <a:buNone/>
            </a:pPr>
            <a:r>
              <a:t/>
            </a:r>
            <a:endParaRPr b="0" sz="1600">
              <a:solidFill>
                <a:schemeClr val="dk2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76" name="Google Shape;176;p21"/>
          <p:cNvSpPr/>
          <p:nvPr/>
        </p:nvSpPr>
        <p:spPr>
          <a:xfrm>
            <a:off x="0" y="0"/>
            <a:ext cx="1872000" cy="981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Fira Sans"/>
              <a:buNone/>
            </a:pPr>
            <a:r>
              <a:t/>
            </a:r>
            <a:endParaRPr b="0" sz="1600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77" name="Google Shape;177;p21"/>
          <p:cNvSpPr txBox="1"/>
          <p:nvPr>
            <p:ph type="title"/>
          </p:nvPr>
        </p:nvSpPr>
        <p:spPr>
          <a:xfrm>
            <a:off x="1055688" y="1268900"/>
            <a:ext cx="8856662" cy="20881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200"/>
              <a:buFont typeface="Fira Sans Condensed"/>
              <a:buNone/>
              <a:defRPr sz="52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78" name="Google Shape;178;p21"/>
          <p:cNvSpPr txBox="1"/>
          <p:nvPr>
            <p:ph idx="1" type="body"/>
          </p:nvPr>
        </p:nvSpPr>
        <p:spPr>
          <a:xfrm>
            <a:off x="1055688" y="3428912"/>
            <a:ext cx="8856662" cy="144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600"/>
              <a:buNone/>
              <a:defRPr b="0" sz="4600">
                <a:solidFill>
                  <a:schemeClr val="dk2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Font typeface="Fira Sans"/>
              <a:buNone/>
              <a:defRPr b="0" sz="4600">
                <a:solidFill>
                  <a:schemeClr val="dk2"/>
                </a:solidFill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9pPr>
          </a:lstStyle>
          <a:p/>
        </p:txBody>
      </p:sp>
      <p:sp>
        <p:nvSpPr>
          <p:cNvPr id="179" name="Google Shape;179;p21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180" name="Google Shape;180;p21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181" name="Google Shape;181;p21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182" name="Google Shape;182;p21"/>
          <p:cNvSpPr txBox="1"/>
          <p:nvPr>
            <p:ph idx="2" type="body"/>
          </p:nvPr>
        </p:nvSpPr>
        <p:spPr>
          <a:xfrm>
            <a:off x="10632000" y="4761000"/>
            <a:ext cx="756000" cy="756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sp>
        <p:nvSpPr>
          <p:cNvPr id="183" name="Google Shape;183;p21"/>
          <p:cNvSpPr txBox="1"/>
          <p:nvPr>
            <p:ph idx="3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6244">
          <p15:clr>
            <a:srgbClr val="F26B43"/>
          </p15:clr>
        </p15:guide>
        <p15:guide id="2" orient="horz" pos="2115">
          <p15:clr>
            <a:srgbClr val="F26B43"/>
          </p15:clr>
        </p15:guide>
        <p15:guide id="3" orient="horz" pos="2160">
          <p15:clr>
            <a:srgbClr val="F26B43"/>
          </p15:clr>
        </p15:guide>
        <p15:guide id="4" pos="665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Section Header GRADIENT">
  <p:cSld name="Section Header GRADIENT">
    <p:spTree>
      <p:nvGrpSpPr>
        <p:cNvPr id="184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5" name="Google Shape;185;p22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6" name="Google Shape;186;p22"/>
          <p:cNvSpPr txBox="1"/>
          <p:nvPr>
            <p:ph type="title"/>
          </p:nvPr>
        </p:nvSpPr>
        <p:spPr>
          <a:xfrm>
            <a:off x="1055688" y="1268900"/>
            <a:ext cx="8856662" cy="20881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Font typeface="Fira Sans Condensed"/>
              <a:buNone/>
              <a:defRPr sz="52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87" name="Google Shape;187;p22"/>
          <p:cNvSpPr txBox="1"/>
          <p:nvPr>
            <p:ph idx="1" type="body"/>
          </p:nvPr>
        </p:nvSpPr>
        <p:spPr>
          <a:xfrm>
            <a:off x="1055688" y="3429000"/>
            <a:ext cx="8856662" cy="144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600"/>
              <a:buNone/>
              <a:defRPr b="0" sz="4600"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Font typeface="Fira Sans"/>
              <a:buNone/>
              <a:defRPr b="0" sz="4600">
                <a:solidFill>
                  <a:schemeClr val="lt1"/>
                </a:solidFill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188" name="Google Shape;188;p22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189" name="Google Shape;189;p22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190" name="Google Shape;190;p22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191" name="Google Shape;191;p22"/>
          <p:cNvSpPr txBox="1"/>
          <p:nvPr>
            <p:ph idx="2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192" name="Google Shape;192;p22"/>
          <p:cNvSpPr txBox="1"/>
          <p:nvPr>
            <p:ph idx="3" type="body"/>
          </p:nvPr>
        </p:nvSpPr>
        <p:spPr>
          <a:xfrm>
            <a:off x="10632000" y="4761000"/>
            <a:ext cx="756000" cy="756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pic>
        <p:nvPicPr>
          <p:cNvPr id="193" name="Google Shape;193;p22"/>
          <p:cNvPicPr preferRelativeResize="0"/>
          <p:nvPr/>
        </p:nvPicPr>
        <p:blipFill rotWithShape="1">
          <a:blip r:embed="rId5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6244">
          <p15:clr>
            <a:srgbClr val="F26B43"/>
          </p15:clr>
        </p15:guide>
        <p15:guide id="2" orient="horz" pos="2115">
          <p15:clr>
            <a:srgbClr val="F26B43"/>
          </p15:clr>
        </p15:guide>
        <p15:guide id="3" orient="horz" pos="2160">
          <p15:clr>
            <a:srgbClr val="F26B43"/>
          </p15:clr>
        </p15:guide>
        <p15:guide id="4" pos="665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Section Header Picture BRIGHT">
  <p:cSld name="Section Header Picture BRIGHT">
    <p:spTree>
      <p:nvGrpSpPr>
        <p:cNvPr id="194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23"/>
          <p:cNvSpPr/>
          <p:nvPr>
            <p:ph idx="2" type="pic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96" name="Google Shape;196;p23"/>
          <p:cNvSpPr txBox="1"/>
          <p:nvPr>
            <p:ph idx="1" type="body"/>
          </p:nvPr>
        </p:nvSpPr>
        <p:spPr>
          <a:xfrm>
            <a:off x="0" y="3717000"/>
            <a:ext cx="12192000" cy="31410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4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9pPr>
          </a:lstStyle>
          <a:p/>
        </p:txBody>
      </p:sp>
      <p:sp>
        <p:nvSpPr>
          <p:cNvPr id="197" name="Google Shape;197;p23"/>
          <p:cNvSpPr txBox="1"/>
          <p:nvPr>
            <p:ph type="title"/>
          </p:nvPr>
        </p:nvSpPr>
        <p:spPr>
          <a:xfrm>
            <a:off x="1055688" y="1268900"/>
            <a:ext cx="8856662" cy="20881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200"/>
              <a:buFont typeface="Fira Sans Condensed"/>
              <a:buNone/>
              <a:defRPr sz="52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98" name="Google Shape;198;p23"/>
          <p:cNvSpPr txBox="1"/>
          <p:nvPr>
            <p:ph idx="3" type="body"/>
          </p:nvPr>
        </p:nvSpPr>
        <p:spPr>
          <a:xfrm>
            <a:off x="1055688" y="3428912"/>
            <a:ext cx="8856662" cy="144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600"/>
              <a:buNone/>
              <a:defRPr b="0" sz="4600">
                <a:solidFill>
                  <a:schemeClr val="dk2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Font typeface="Fira Sans"/>
              <a:buNone/>
              <a:defRPr b="0" sz="4600">
                <a:solidFill>
                  <a:schemeClr val="dk2"/>
                </a:solidFill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9pPr>
          </a:lstStyle>
          <a:p/>
        </p:txBody>
      </p:sp>
      <p:sp>
        <p:nvSpPr>
          <p:cNvPr id="199" name="Google Shape;199;p23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200" name="Google Shape;200;p23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201" name="Google Shape;201;p23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202" name="Google Shape;202;p23"/>
          <p:cNvSpPr txBox="1"/>
          <p:nvPr>
            <p:ph idx="4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203" name="Google Shape;203;p23"/>
          <p:cNvSpPr txBox="1"/>
          <p:nvPr>
            <p:ph idx="5" type="body"/>
          </p:nvPr>
        </p:nvSpPr>
        <p:spPr>
          <a:xfrm>
            <a:off x="10632000" y="4761000"/>
            <a:ext cx="756000" cy="7560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pic>
        <p:nvPicPr>
          <p:cNvPr id="204" name="Google Shape;204;p23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6244">
          <p15:clr>
            <a:srgbClr val="F26B43"/>
          </p15:clr>
        </p15:guide>
        <p15:guide id="2" orient="horz" pos="2115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pos="665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Section Header Picture DARK">
  <p:cSld name="Section Header Picture DARK">
    <p:spTree>
      <p:nvGrpSpPr>
        <p:cNvPr id="205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Google Shape;206;p24"/>
          <p:cNvSpPr/>
          <p:nvPr>
            <p:ph idx="2" type="pic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</p:sp>
      <p:sp>
        <p:nvSpPr>
          <p:cNvPr id="207" name="Google Shape;207;p24"/>
          <p:cNvSpPr txBox="1"/>
          <p:nvPr>
            <p:ph idx="1" type="body"/>
          </p:nvPr>
        </p:nvSpPr>
        <p:spPr>
          <a:xfrm>
            <a:off x="0" y="3717000"/>
            <a:ext cx="12192000" cy="3141001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2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None/>
              <a:defRPr/>
            </a:lvl1pPr>
            <a:lvl2pPr indent="-3429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2pPr>
            <a:lvl3pPr indent="-3429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/>
            </a:lvl6pPr>
            <a:lvl7pPr indent="-3429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7pPr>
            <a:lvl8pPr indent="-3429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8pPr>
            <a:lvl9pPr indent="-3429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800"/>
              <a:buChar char="−"/>
              <a:defRPr/>
            </a:lvl9pPr>
          </a:lstStyle>
          <a:p/>
        </p:txBody>
      </p:sp>
      <p:sp>
        <p:nvSpPr>
          <p:cNvPr id="208" name="Google Shape;208;p24"/>
          <p:cNvSpPr txBox="1"/>
          <p:nvPr>
            <p:ph type="title"/>
          </p:nvPr>
        </p:nvSpPr>
        <p:spPr>
          <a:xfrm>
            <a:off x="1055688" y="1268900"/>
            <a:ext cx="8856662" cy="20881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Font typeface="Fira Sans Condensed"/>
              <a:buNone/>
              <a:defRPr sz="52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09" name="Google Shape;209;p24"/>
          <p:cNvSpPr txBox="1"/>
          <p:nvPr>
            <p:ph idx="3" type="body"/>
          </p:nvPr>
        </p:nvSpPr>
        <p:spPr>
          <a:xfrm>
            <a:off x="1055688" y="3429000"/>
            <a:ext cx="8856662" cy="144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600"/>
              <a:buNone/>
              <a:defRPr b="0" sz="4600"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Font typeface="Fira Sans"/>
              <a:buNone/>
              <a:defRPr b="0" sz="4600">
                <a:solidFill>
                  <a:schemeClr val="lt1"/>
                </a:solidFill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210" name="Google Shape;210;p24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211" name="Google Shape;211;p24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212" name="Google Shape;212;p24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213" name="Google Shape;213;p24"/>
          <p:cNvSpPr txBox="1"/>
          <p:nvPr>
            <p:ph idx="4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214" name="Google Shape;214;p24"/>
          <p:cNvSpPr txBox="1"/>
          <p:nvPr>
            <p:ph idx="5" type="body"/>
          </p:nvPr>
        </p:nvSpPr>
        <p:spPr>
          <a:xfrm>
            <a:off x="10632000" y="4761000"/>
            <a:ext cx="756000" cy="7560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pic>
        <p:nvPicPr>
          <p:cNvPr id="215" name="Google Shape;215;p24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6244">
          <p15:clr>
            <a:srgbClr val="F26B43"/>
          </p15:clr>
        </p15:guide>
        <p15:guide id="2" orient="horz" pos="2115">
          <p15:clr>
            <a:srgbClr val="F26B43"/>
          </p15:clr>
        </p15:guide>
        <p15:guide id="3" orient="horz" pos="2160">
          <p15:clr>
            <a:srgbClr val="F26B43"/>
          </p15:clr>
        </p15:guide>
        <p15:guide id="4" pos="665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Section Header half Picture WHITE ">
  <p:cSld name="Section Header half Picture WHITE ">
    <p:spTree>
      <p:nvGrpSpPr>
        <p:cNvPr id="216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25"/>
          <p:cNvSpPr/>
          <p:nvPr/>
        </p:nvSpPr>
        <p:spPr>
          <a:xfrm>
            <a:off x="5736000" y="6309000"/>
            <a:ext cx="1080000" cy="54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-76200" lvl="0" marL="1778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Fira Sans"/>
              <a:buNone/>
            </a:pPr>
            <a:r>
              <a:t/>
            </a:r>
            <a:endParaRPr b="0" sz="1600">
              <a:solidFill>
                <a:schemeClr val="dk2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218" name="Google Shape;218;p25"/>
          <p:cNvSpPr/>
          <p:nvPr>
            <p:ph idx="2" type="pic"/>
          </p:nvPr>
        </p:nvSpPr>
        <p:spPr>
          <a:xfrm>
            <a:off x="6672262" y="0"/>
            <a:ext cx="5519737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219" name="Google Shape;219;p25"/>
          <p:cNvSpPr txBox="1"/>
          <p:nvPr>
            <p:ph idx="1" type="body"/>
          </p:nvPr>
        </p:nvSpPr>
        <p:spPr>
          <a:xfrm>
            <a:off x="6672262" y="3717000"/>
            <a:ext cx="5519737" cy="31410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4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9pPr>
          </a:lstStyle>
          <a:p/>
        </p:txBody>
      </p:sp>
      <p:sp>
        <p:nvSpPr>
          <p:cNvPr id="220" name="Google Shape;220;p25"/>
          <p:cNvSpPr/>
          <p:nvPr/>
        </p:nvSpPr>
        <p:spPr>
          <a:xfrm>
            <a:off x="0" y="0"/>
            <a:ext cx="1872000" cy="981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Fira Sans"/>
              <a:buNone/>
            </a:pPr>
            <a:r>
              <a:t/>
            </a:r>
            <a:endParaRPr b="0" sz="1600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221" name="Google Shape;221;p25"/>
          <p:cNvSpPr txBox="1"/>
          <p:nvPr>
            <p:ph type="title"/>
          </p:nvPr>
        </p:nvSpPr>
        <p:spPr>
          <a:xfrm>
            <a:off x="407988" y="693000"/>
            <a:ext cx="5759450" cy="1872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Fira Sans Condensed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22" name="Google Shape;222;p25"/>
          <p:cNvSpPr txBox="1"/>
          <p:nvPr>
            <p:ph idx="3" type="body"/>
          </p:nvPr>
        </p:nvSpPr>
        <p:spPr>
          <a:xfrm>
            <a:off x="407988" y="2564912"/>
            <a:ext cx="5759450" cy="1944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dk2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dk2"/>
                </a:solidFill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dk2"/>
                </a:solidFill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dk2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b="0" sz="4200">
                <a:solidFill>
                  <a:schemeClr val="dk2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Font typeface="Fira Sans"/>
              <a:buNone/>
              <a:defRPr b="0" sz="4200">
                <a:solidFill>
                  <a:schemeClr val="dk2"/>
                </a:solidFill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dk2"/>
                </a:solidFill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dk2"/>
                </a:solidFill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dk2"/>
                </a:solidFill>
              </a:defRPr>
            </a:lvl9pPr>
          </a:lstStyle>
          <a:p/>
        </p:txBody>
      </p:sp>
      <p:sp>
        <p:nvSpPr>
          <p:cNvPr id="223" name="Google Shape;223;p25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224" name="Google Shape;224;p25"/>
          <p:cNvSpPr txBox="1"/>
          <p:nvPr>
            <p:ph idx="11" type="ftr"/>
          </p:nvPr>
        </p:nvSpPr>
        <p:spPr>
          <a:xfrm>
            <a:off x="1055687" y="6453000"/>
            <a:ext cx="468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225" name="Google Shape;225;p25"/>
          <p:cNvSpPr txBox="1"/>
          <p:nvPr>
            <p:ph idx="10" type="dt"/>
          </p:nvPr>
        </p:nvSpPr>
        <p:spPr>
          <a:xfrm>
            <a:off x="6888000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226" name="Google Shape;226;p25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6154406" y="647562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227" name="Google Shape;227;p25"/>
          <p:cNvSpPr txBox="1"/>
          <p:nvPr>
            <p:ph idx="4" type="body"/>
          </p:nvPr>
        </p:nvSpPr>
        <p:spPr>
          <a:xfrm>
            <a:off x="4944000" y="4869000"/>
            <a:ext cx="1224000" cy="12240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sp>
        <p:nvSpPr>
          <p:cNvPr id="228" name="Google Shape;228;p25"/>
          <p:cNvSpPr txBox="1"/>
          <p:nvPr>
            <p:ph idx="5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616">
          <p15:clr>
            <a:srgbClr val="F26B43"/>
          </p15:clr>
        </p15:guide>
        <p15:guide id="2" pos="3885">
          <p15:clr>
            <a:srgbClr val="F26B43"/>
          </p15:clr>
        </p15:guide>
        <p15:guide id="3" pos="4203">
          <p15:clr>
            <a:srgbClr val="F26B43"/>
          </p15:clr>
        </p15:guide>
        <p15:guide id="4" pos="257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Section Header half Picture DARK">
  <p:cSld name="Section Header half Picture DARK">
    <p:spTree>
      <p:nvGrpSpPr>
        <p:cNvPr id="229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0" name="Google Shape;230;p26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1" name="Google Shape;231;p26"/>
          <p:cNvSpPr/>
          <p:nvPr>
            <p:ph idx="2" type="pic"/>
          </p:nvPr>
        </p:nvSpPr>
        <p:spPr>
          <a:xfrm>
            <a:off x="6672263" y="0"/>
            <a:ext cx="5519737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232" name="Google Shape;232;p26"/>
          <p:cNvSpPr txBox="1"/>
          <p:nvPr>
            <p:ph idx="1" type="body"/>
          </p:nvPr>
        </p:nvSpPr>
        <p:spPr>
          <a:xfrm>
            <a:off x="6672262" y="3717000"/>
            <a:ext cx="5519737" cy="31410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4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9pPr>
          </a:lstStyle>
          <a:p/>
        </p:txBody>
      </p:sp>
      <p:sp>
        <p:nvSpPr>
          <p:cNvPr id="233" name="Google Shape;233;p26"/>
          <p:cNvSpPr txBox="1"/>
          <p:nvPr>
            <p:ph type="title"/>
          </p:nvPr>
        </p:nvSpPr>
        <p:spPr>
          <a:xfrm>
            <a:off x="407988" y="693000"/>
            <a:ext cx="5759450" cy="1872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Fira Sans Condensed"/>
              <a:buNone/>
              <a:defRPr sz="48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34" name="Google Shape;234;p26"/>
          <p:cNvSpPr txBox="1"/>
          <p:nvPr>
            <p:ph idx="3" type="body"/>
          </p:nvPr>
        </p:nvSpPr>
        <p:spPr>
          <a:xfrm>
            <a:off x="407988" y="2564912"/>
            <a:ext cx="5760751" cy="1944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lt1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lt1"/>
                </a:solidFill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lt1"/>
                </a:solidFill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b="0" sz="4200"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Font typeface="Fira Sans"/>
              <a:buNone/>
              <a:defRPr b="0" sz="4200">
                <a:solidFill>
                  <a:schemeClr val="lt1"/>
                </a:solidFill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lt1"/>
                </a:solidFill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lt1"/>
                </a:solidFill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235" name="Google Shape;235;p26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236" name="Google Shape;236;p26"/>
          <p:cNvSpPr txBox="1"/>
          <p:nvPr>
            <p:ph idx="11" type="ftr"/>
          </p:nvPr>
        </p:nvSpPr>
        <p:spPr>
          <a:xfrm>
            <a:off x="1055687" y="6453000"/>
            <a:ext cx="468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237" name="Google Shape;237;p26"/>
          <p:cNvSpPr txBox="1"/>
          <p:nvPr>
            <p:ph idx="4" type="body"/>
          </p:nvPr>
        </p:nvSpPr>
        <p:spPr>
          <a:xfrm>
            <a:off x="4944000" y="4869000"/>
            <a:ext cx="1224000" cy="12240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>
                <a:solidFill>
                  <a:schemeClr val="lt1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sp>
        <p:nvSpPr>
          <p:cNvPr id="238" name="Google Shape;238;p26"/>
          <p:cNvSpPr txBox="1"/>
          <p:nvPr>
            <p:ph idx="10" type="dt"/>
          </p:nvPr>
        </p:nvSpPr>
        <p:spPr>
          <a:xfrm>
            <a:off x="6888000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239" name="Google Shape;239;p26"/>
          <p:cNvSpPr txBox="1"/>
          <p:nvPr>
            <p:ph idx="5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616">
          <p15:clr>
            <a:srgbClr val="F26B43"/>
          </p15:clr>
        </p15:guide>
        <p15:guide id="2" pos="3885">
          <p15:clr>
            <a:srgbClr val="F26B43"/>
          </p15:clr>
        </p15:guide>
        <p15:guide id="3" pos="4203">
          <p15:clr>
            <a:srgbClr val="F26B43"/>
          </p15:clr>
        </p15:guide>
        <p15:guide id="4" pos="257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le and Content WHITE">
  <p:cSld name="Title and Content WHITE">
    <p:spTree>
      <p:nvGrpSpPr>
        <p:cNvPr id="240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1" name="Google Shape;241;p27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3" imgH="1588" imgW="1588" progId="TCLayout.ActiveDocument.1" spid="_x0000_s1">
                  <p:embed/>
                </p:oleObj>
              </mc:Choice>
              <mc:Fallback>
                <p:oleObj r:id="rId4" imgH="1588" imgW="1588" progId="TCLayout.ActiveDocument.1">
                  <p:embed/>
                  <p:pic>
                    <p:nvPicPr>
                      <p:cNvPr id="241" name="Google Shape;241;p27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2" name="Google Shape;242;p27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43" name="Google Shape;243;p27"/>
          <p:cNvSpPr txBox="1"/>
          <p:nvPr>
            <p:ph idx="1" type="body"/>
          </p:nvPr>
        </p:nvSpPr>
        <p:spPr>
          <a:xfrm>
            <a:off x="1055999" y="1772999"/>
            <a:ext cx="10728013" cy="4391263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429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1pPr>
            <a:lvl2pPr indent="-3429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2pPr>
            <a:lvl3pPr indent="-3429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/>
            </a:lvl6pPr>
            <a:lvl7pPr indent="-3429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7pPr>
            <a:lvl8pPr indent="-3429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8pPr>
            <a:lvl9pPr indent="-3429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800"/>
              <a:buChar char="−"/>
              <a:defRPr/>
            </a:lvl9pPr>
          </a:lstStyle>
          <a:p/>
        </p:txBody>
      </p:sp>
      <p:sp>
        <p:nvSpPr>
          <p:cNvPr id="244" name="Google Shape;244;p27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245" name="Google Shape;245;p27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246" name="Google Shape;246;p27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pos="665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23">
          <p15:clr>
            <a:srgbClr val="F26B43"/>
          </p15:clr>
        </p15:guide>
        <p15:guide id="5" orient="horz" pos="3883">
          <p15:clr>
            <a:srgbClr val="F26B43"/>
          </p15:clr>
        </p15:guide>
        <p15:guide id="6" pos="257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Agenda">
  <p:cSld name="Agenda">
    <p:spTree>
      <p:nvGrpSpPr>
        <p:cNvPr id="64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10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66" name="Google Shape;66;p10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67" name="Google Shape;67;p10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68" name="Google Shape;68;p10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69" name="Google Shape;69;p10"/>
          <p:cNvSpPr txBox="1"/>
          <p:nvPr>
            <p:ph idx="1" type="body"/>
          </p:nvPr>
        </p:nvSpPr>
        <p:spPr>
          <a:xfrm>
            <a:off x="1055688" y="1773238"/>
            <a:ext cx="10728000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42900" lvl="0" marL="457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Font typeface="Fira Sans Condensed"/>
              <a:buAutoNum type="arabicPeriod"/>
              <a:defRPr b="1" sz="1800">
                <a:solidFill>
                  <a:schemeClr val="dk2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Font typeface="Fira Sans Condensed"/>
              <a:buNone/>
              <a:defRPr b="1" sz="16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Char char="&gt;"/>
              <a:defRPr b="0" sz="1400">
                <a:solidFill>
                  <a:schemeClr val="dk1"/>
                </a:solidFill>
              </a:defRPr>
            </a:lvl4pPr>
            <a:lvl5pPr indent="-317500" lvl="4" marL="22860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5pPr>
            <a:lvl6pPr indent="-3175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6pPr>
            <a:lvl7pPr indent="-3175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7pPr>
            <a:lvl8pPr indent="-3175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8pPr>
            <a:lvl9pPr indent="-3175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pos="665">
          <p15:clr>
            <a:srgbClr val="F26B43"/>
          </p15:clr>
        </p15:guide>
        <p15:guide id="3" orient="horz" pos="3883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323">
          <p15:clr>
            <a:srgbClr val="F26B43"/>
          </p15:clr>
        </p15:guide>
        <p15:guide id="6" pos="257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wo Content WHITE">
  <p:cSld name="Two Content WHITE">
    <p:spTree>
      <p:nvGrpSpPr>
        <p:cNvPr id="247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8" name="Google Shape;248;p28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3" imgH="1588" imgW="1588" progId="TCLayout.ActiveDocument.1" spid="_x0000_s1">
                  <p:embed/>
                </p:oleObj>
              </mc:Choice>
              <mc:Fallback>
                <p:oleObj r:id="rId4" imgH="1588" imgW="1588" progId="TCLayout.ActiveDocument.1">
                  <p:embed/>
                  <p:pic>
                    <p:nvPicPr>
                      <p:cNvPr id="248" name="Google Shape;248;p28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9" name="Google Shape;249;p28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50" name="Google Shape;250;p28"/>
          <p:cNvSpPr txBox="1"/>
          <p:nvPr>
            <p:ph idx="1" type="body"/>
          </p:nvPr>
        </p:nvSpPr>
        <p:spPr>
          <a:xfrm>
            <a:off x="1056000" y="1772388"/>
            <a:ext cx="5112000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/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000"/>
              <a:buChar char="−"/>
              <a:defRPr/>
            </a:lvl9pPr>
          </a:lstStyle>
          <a:p/>
        </p:txBody>
      </p:sp>
      <p:sp>
        <p:nvSpPr>
          <p:cNvPr id="251" name="Google Shape;251;p28"/>
          <p:cNvSpPr txBox="1"/>
          <p:nvPr>
            <p:ph idx="2" type="body"/>
          </p:nvPr>
        </p:nvSpPr>
        <p:spPr>
          <a:xfrm>
            <a:off x="6671537" y="1772388"/>
            <a:ext cx="5112000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/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000"/>
              <a:buChar char="−"/>
              <a:defRPr/>
            </a:lvl9pPr>
          </a:lstStyle>
          <a:p/>
        </p:txBody>
      </p:sp>
      <p:sp>
        <p:nvSpPr>
          <p:cNvPr id="252" name="Google Shape;252;p28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253" name="Google Shape;253;p28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254" name="Google Shape;254;p28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3885">
          <p15:clr>
            <a:srgbClr val="F26B43"/>
          </p15:clr>
        </p15:guide>
        <p15:guide id="2" pos="4203">
          <p15:clr>
            <a:srgbClr val="F26B43"/>
          </p15:clr>
        </p15:guide>
        <p15:guide id="3" pos="7423">
          <p15:clr>
            <a:srgbClr val="F26B43"/>
          </p15:clr>
        </p15:guide>
        <p15:guide id="4" pos="665">
          <p15:clr>
            <a:srgbClr val="F26B43"/>
          </p15:clr>
        </p15:guide>
        <p15:guide id="5" orient="horz" pos="1117">
          <p15:clr>
            <a:srgbClr val="F26B43"/>
          </p15:clr>
        </p15:guide>
        <p15:guide id="6" orient="horz" pos="3883">
          <p15:clr>
            <a:srgbClr val="F26B43"/>
          </p15:clr>
        </p15:guide>
        <p15:guide id="7" orient="horz" pos="323">
          <p15:clr>
            <a:srgbClr val="F26B43"/>
          </p15:clr>
        </p15:guide>
        <p15:guide id="8" pos="257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wo Content DARK">
  <p:cSld name="Two Content DARK">
    <p:spTree>
      <p:nvGrpSpPr>
        <p:cNvPr id="255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" name="Google Shape;256;p29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57" name="Google Shape;257;p29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407988" y="669600"/>
            <a:ext cx="432000" cy="197485"/>
          </a:xfrm>
          <a:prstGeom prst="rect">
            <a:avLst/>
          </a:prstGeom>
          <a:noFill/>
          <a:ln>
            <a:noFill/>
          </a:ln>
        </p:spPr>
      </p:pic>
      <p:pic>
        <p:nvPicPr>
          <p:cNvPr id="258" name="Google Shape;258;p29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61559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259" name="Google Shape;259;p29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60" name="Google Shape;260;p29"/>
          <p:cNvSpPr txBox="1"/>
          <p:nvPr>
            <p:ph idx="1" type="body"/>
          </p:nvPr>
        </p:nvSpPr>
        <p:spPr>
          <a:xfrm>
            <a:off x="1056000" y="1772388"/>
            <a:ext cx="5112000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>
                <a:solidFill>
                  <a:schemeClr val="lt1"/>
                </a:solidFill>
              </a:defRPr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lt1"/>
              </a:buClr>
              <a:buSzPts val="1000"/>
              <a:buChar char="−"/>
              <a:defRPr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261" name="Google Shape;261;p29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262" name="Google Shape;262;p29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263" name="Google Shape;263;p29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264" name="Google Shape;264;p29"/>
          <p:cNvSpPr txBox="1"/>
          <p:nvPr>
            <p:ph idx="2" type="body"/>
          </p:nvPr>
        </p:nvSpPr>
        <p:spPr>
          <a:xfrm>
            <a:off x="6672632" y="1772692"/>
            <a:ext cx="5112000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>
                <a:solidFill>
                  <a:schemeClr val="lt1"/>
                </a:solidFill>
              </a:defRPr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lt1"/>
              </a:buClr>
              <a:buSzPts val="1000"/>
              <a:buChar char="−"/>
              <a:defRPr>
                <a:solidFill>
                  <a:schemeClr val="lt1"/>
                </a:solidFill>
              </a:defRPr>
            </a:lvl9pPr>
          </a:lstStyle>
          <a:p/>
        </p:txBody>
      </p:sp>
      <p:pic>
        <p:nvPicPr>
          <p:cNvPr id="265" name="Google Shape;265;p29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3885">
          <p15:clr>
            <a:srgbClr val="F26B43"/>
          </p15:clr>
        </p15:guide>
        <p15:guide id="2" pos="4203">
          <p15:clr>
            <a:srgbClr val="F26B43"/>
          </p15:clr>
        </p15:guide>
        <p15:guide id="3" pos="7423">
          <p15:clr>
            <a:srgbClr val="F26B43"/>
          </p15:clr>
        </p15:guide>
        <p15:guide id="4" pos="665">
          <p15:clr>
            <a:srgbClr val="F26B43"/>
          </p15:clr>
        </p15:guide>
        <p15:guide id="5" orient="horz" pos="323">
          <p15:clr>
            <a:srgbClr val="F26B43"/>
          </p15:clr>
        </p15:guide>
        <p15:guide id="6" orient="horz" pos="1117">
          <p15:clr>
            <a:srgbClr val="F26B43"/>
          </p15:clr>
        </p15:guide>
        <p15:guide id="7" orient="horz" pos="3883">
          <p15:clr>
            <a:srgbClr val="F26B43"/>
          </p15:clr>
        </p15:guide>
        <p15:guide id="8" pos="257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hree Content WHITE">
  <p:cSld name="Three Content WHITE">
    <p:spTree>
      <p:nvGrpSpPr>
        <p:cNvPr id="266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30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68" name="Google Shape;268;p30"/>
          <p:cNvSpPr txBox="1"/>
          <p:nvPr>
            <p:ph idx="1" type="body"/>
          </p:nvPr>
        </p:nvSpPr>
        <p:spPr>
          <a:xfrm>
            <a:off x="1056000" y="1772388"/>
            <a:ext cx="3240000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/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000"/>
              <a:buChar char="−"/>
              <a:defRPr/>
            </a:lvl9pPr>
          </a:lstStyle>
          <a:p/>
        </p:txBody>
      </p:sp>
      <p:sp>
        <p:nvSpPr>
          <p:cNvPr id="269" name="Google Shape;269;p30"/>
          <p:cNvSpPr txBox="1"/>
          <p:nvPr>
            <p:ph idx="2" type="body"/>
          </p:nvPr>
        </p:nvSpPr>
        <p:spPr>
          <a:xfrm>
            <a:off x="4800000" y="1772388"/>
            <a:ext cx="3240000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/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000"/>
              <a:buChar char="−"/>
              <a:defRPr/>
            </a:lvl9pPr>
          </a:lstStyle>
          <a:p/>
        </p:txBody>
      </p:sp>
      <p:sp>
        <p:nvSpPr>
          <p:cNvPr id="270" name="Google Shape;270;p30"/>
          <p:cNvSpPr txBox="1"/>
          <p:nvPr>
            <p:ph idx="3" type="body"/>
          </p:nvPr>
        </p:nvSpPr>
        <p:spPr>
          <a:xfrm>
            <a:off x="8543875" y="1772388"/>
            <a:ext cx="3240000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/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000"/>
              <a:buChar char="−"/>
              <a:defRPr/>
            </a:lvl9pPr>
          </a:lstStyle>
          <a:p/>
        </p:txBody>
      </p:sp>
      <p:sp>
        <p:nvSpPr>
          <p:cNvPr id="271" name="Google Shape;271;p30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272" name="Google Shape;272;p30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273" name="Google Shape;273;p30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665">
          <p15:clr>
            <a:srgbClr val="F26B43"/>
          </p15:clr>
        </p15:guide>
        <p15:guide id="2" pos="3024">
          <p15:clr>
            <a:srgbClr val="F26B43"/>
          </p15:clr>
        </p15:guide>
        <p15:guide id="3" pos="5065">
          <p15:clr>
            <a:srgbClr val="F26B43"/>
          </p15:clr>
        </p15:guide>
        <p15:guide id="4" pos="5382">
          <p15:clr>
            <a:srgbClr val="F26B43"/>
          </p15:clr>
        </p15:guide>
        <p15:guide id="5" pos="257">
          <p15:clr>
            <a:srgbClr val="A4A3A4"/>
          </p15:clr>
        </p15:guide>
        <p15:guide id="6" pos="7423">
          <p15:clr>
            <a:srgbClr val="F26B43"/>
          </p15:clr>
        </p15:guide>
        <p15:guide id="7" orient="horz" pos="1117">
          <p15:clr>
            <a:srgbClr val="F26B43"/>
          </p15:clr>
        </p15:guide>
        <p15:guide id="8" orient="horz" pos="323">
          <p15:clr>
            <a:srgbClr val="F26B43"/>
          </p15:clr>
        </p15:guide>
        <p15:guide id="9" orient="horz" pos="3883">
          <p15:clr>
            <a:srgbClr val="F26B43"/>
          </p15:clr>
        </p15:guide>
        <p15:guide id="10" pos="2706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Content with Picture WHITE">
  <p:cSld name="Content with Picture WHITE">
    <p:spTree>
      <p:nvGrpSpPr>
        <p:cNvPr id="274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oogle Shape;275;p31"/>
          <p:cNvSpPr txBox="1"/>
          <p:nvPr>
            <p:ph type="title"/>
          </p:nvPr>
        </p:nvSpPr>
        <p:spPr>
          <a:xfrm>
            <a:off x="1055689" y="512676"/>
            <a:ext cx="511175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  <a:defRPr sz="34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76" name="Google Shape;276;p31"/>
          <p:cNvSpPr txBox="1"/>
          <p:nvPr>
            <p:ph idx="1" type="body"/>
          </p:nvPr>
        </p:nvSpPr>
        <p:spPr>
          <a:xfrm>
            <a:off x="1056001" y="1772388"/>
            <a:ext cx="5111437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/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000"/>
              <a:buChar char="−"/>
              <a:defRPr/>
            </a:lvl9pPr>
          </a:lstStyle>
          <a:p/>
        </p:txBody>
      </p:sp>
      <p:sp>
        <p:nvSpPr>
          <p:cNvPr id="277" name="Google Shape;277;p31"/>
          <p:cNvSpPr/>
          <p:nvPr>
            <p:ph idx="2" type="pic"/>
          </p:nvPr>
        </p:nvSpPr>
        <p:spPr>
          <a:xfrm>
            <a:off x="6672262" y="0"/>
            <a:ext cx="5519737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278" name="Google Shape;278;p31"/>
          <p:cNvSpPr txBox="1"/>
          <p:nvPr>
            <p:ph idx="3" type="body"/>
          </p:nvPr>
        </p:nvSpPr>
        <p:spPr>
          <a:xfrm>
            <a:off x="6672262" y="3717000"/>
            <a:ext cx="5519737" cy="31410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4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9pPr>
          </a:lstStyle>
          <a:p/>
        </p:txBody>
      </p:sp>
      <p:sp>
        <p:nvSpPr>
          <p:cNvPr id="279" name="Google Shape;279;p31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280" name="Google Shape;280;p31"/>
          <p:cNvSpPr txBox="1"/>
          <p:nvPr>
            <p:ph idx="11" type="ftr"/>
          </p:nvPr>
        </p:nvSpPr>
        <p:spPr>
          <a:xfrm>
            <a:off x="1055687" y="6453000"/>
            <a:ext cx="4752976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281" name="Google Shape;281;p31"/>
          <p:cNvSpPr txBox="1"/>
          <p:nvPr>
            <p:ph idx="10" type="dt"/>
          </p:nvPr>
        </p:nvSpPr>
        <p:spPr>
          <a:xfrm>
            <a:off x="6888000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4203">
          <p15:clr>
            <a:srgbClr val="F26B43"/>
          </p15:clr>
        </p15:guide>
        <p15:guide id="2" pos="3885">
          <p15:clr>
            <a:srgbClr val="F26B43"/>
          </p15:clr>
        </p15:guide>
        <p15:guide id="3" pos="665">
          <p15:clr>
            <a:srgbClr val="F26B43"/>
          </p15:clr>
        </p15:guide>
        <p15:guide id="4" pos="257">
          <p15:clr>
            <a:srgbClr val="A4A3A4"/>
          </p15:clr>
        </p15:guide>
        <p15:guide id="5" orient="horz" pos="323">
          <p15:clr>
            <a:srgbClr val="F26B43"/>
          </p15:clr>
        </p15:guide>
        <p15:guide id="6" orient="horz" pos="1117">
          <p15:clr>
            <a:srgbClr val="F26B43"/>
          </p15:clr>
        </p15:guide>
        <p15:guide id="7" orient="horz" pos="3883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le Only WHITE">
  <p:cSld name="Title Only WHITE">
    <p:spTree>
      <p:nvGrpSpPr>
        <p:cNvPr id="282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p32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84" name="Google Shape;284;p32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285" name="Google Shape;285;p32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286" name="Google Shape;286;p32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323">
          <p15:clr>
            <a:srgbClr val="F26B43"/>
          </p15:clr>
        </p15:guide>
        <p15:guide id="2" pos="665">
          <p15:clr>
            <a:srgbClr val="F26B43"/>
          </p15:clr>
        </p15:guide>
        <p15:guide id="3" pos="257">
          <p15:clr>
            <a:srgbClr val="A4A3A4"/>
          </p15:clr>
        </p15:guide>
        <p15:guide id="4" pos="7423">
          <p15:clr>
            <a:srgbClr val="F26B43"/>
          </p15:clr>
        </p15:guide>
        <p15:guide id="5" orient="horz" pos="1117">
          <p15:clr>
            <a:srgbClr val="F26B43"/>
          </p15:clr>
        </p15:guide>
        <p15:guide id="6" orient="horz" pos="3883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le Only DARK">
  <p:cSld name="Title Only DARK">
    <p:spTree>
      <p:nvGrpSpPr>
        <p:cNvPr id="287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8" name="Google Shape;288;p33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89" name="Google Shape;289;p33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61559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290" name="Google Shape;290;p33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91" name="Google Shape;291;p33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292" name="Google Shape;292;p33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293" name="Google Shape;293;p33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294" name="Google Shape;294;p33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  <p:pic>
        <p:nvPicPr>
          <p:cNvPr id="295" name="Google Shape;295;p33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407988" y="669600"/>
            <a:ext cx="432000" cy="19748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7423">
          <p15:clr>
            <a:srgbClr val="F26B43"/>
          </p15:clr>
        </p15:guide>
        <p15:guide id="2" pos="665">
          <p15:clr>
            <a:srgbClr val="F26B43"/>
          </p15:clr>
        </p15:guide>
        <p15:guide id="3" pos="257">
          <p15:clr>
            <a:srgbClr val="A4A3A4"/>
          </p15:clr>
        </p15:guide>
        <p15:guide id="4" orient="horz" pos="1117">
          <p15:clr>
            <a:srgbClr val="F26B43"/>
          </p15:clr>
        </p15:guide>
        <p15:guide id="5" orient="horz" pos="3883">
          <p15:clr>
            <a:srgbClr val="F26B43"/>
          </p15:clr>
        </p15:guide>
        <p15:guide id="6" orient="horz" pos="323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Picture and Text BRIGHT">
  <p:cSld name="Picture and Text BRIGHT">
    <p:spTree>
      <p:nvGrpSpPr>
        <p:cNvPr id="296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Google Shape;297;p34"/>
          <p:cNvSpPr/>
          <p:nvPr/>
        </p:nvSpPr>
        <p:spPr>
          <a:xfrm>
            <a:off x="0" y="0"/>
            <a:ext cx="1872000" cy="981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Fira Sans"/>
              <a:buNone/>
            </a:pPr>
            <a:r>
              <a:t/>
            </a:r>
            <a:endParaRPr b="0" sz="1600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298" name="Google Shape;298;p34"/>
          <p:cNvSpPr/>
          <p:nvPr>
            <p:ph idx="2" type="pic"/>
          </p:nvPr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299" name="Google Shape;299;p34"/>
          <p:cNvSpPr txBox="1"/>
          <p:nvPr>
            <p:ph idx="1" type="body"/>
          </p:nvPr>
        </p:nvSpPr>
        <p:spPr>
          <a:xfrm>
            <a:off x="0" y="3717000"/>
            <a:ext cx="12192000" cy="31410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24705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9pPr>
          </a:lstStyle>
          <a:p/>
        </p:txBody>
      </p:sp>
      <p:sp>
        <p:nvSpPr>
          <p:cNvPr id="300" name="Google Shape;300;p34"/>
          <p:cNvSpPr txBox="1"/>
          <p:nvPr>
            <p:ph idx="3" type="body"/>
          </p:nvPr>
        </p:nvSpPr>
        <p:spPr>
          <a:xfrm>
            <a:off x="407988" y="669600"/>
            <a:ext cx="432000" cy="1944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301" name="Google Shape;301;p34"/>
          <p:cNvSpPr txBox="1"/>
          <p:nvPr>
            <p:ph idx="4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302" name="Google Shape;302;p34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303" name="Google Shape;303;p34"/>
          <p:cNvSpPr txBox="1"/>
          <p:nvPr>
            <p:ph idx="5" type="body"/>
          </p:nvPr>
        </p:nvSpPr>
        <p:spPr>
          <a:xfrm>
            <a:off x="1055650" y="1773975"/>
            <a:ext cx="7920000" cy="4391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-228600" lvl="0" marL="4572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b="1" sz="2400">
                <a:solidFill>
                  <a:schemeClr val="dk2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dk1"/>
                </a:solidFill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dk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Fira Sans"/>
              <a:buNone/>
              <a:defRPr b="0" sz="1600">
                <a:solidFill>
                  <a:schemeClr val="dk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dk1"/>
                </a:solidFill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dk1"/>
                </a:solidFill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dk1"/>
                </a:solidFill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dk1"/>
                </a:solidFill>
              </a:defRPr>
            </a:lvl9pPr>
          </a:lstStyle>
          <a:p/>
        </p:txBody>
      </p:sp>
      <p:sp>
        <p:nvSpPr>
          <p:cNvPr id="304" name="Google Shape;304;p34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305" name="Google Shape;305;p34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306" name="Google Shape;306;p34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307" name="Google Shape;307;p34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5654">
          <p15:clr>
            <a:srgbClr val="F26B43"/>
          </p15:clr>
        </p15:guide>
        <p15:guide id="2" orient="horz" pos="1117">
          <p15:clr>
            <a:srgbClr val="F26B43"/>
          </p15:clr>
        </p15:guide>
        <p15:guide id="3" orient="horz" pos="3883">
          <p15:clr>
            <a:srgbClr val="F26B43"/>
          </p15:clr>
        </p15:guide>
        <p15:guide id="4" pos="665">
          <p15:clr>
            <a:srgbClr val="F26B43"/>
          </p15:clr>
        </p15:guide>
        <p15:guide id="5" orient="horz" pos="323">
          <p15:clr>
            <a:srgbClr val="F26B43"/>
          </p15:clr>
        </p15:guide>
        <p15:guide id="6" pos="7423">
          <p15:clr>
            <a:srgbClr val="A4A3A4"/>
          </p15:clr>
        </p15:guide>
        <p15:guide id="7" pos="257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Picture and Text DARK">
  <p:cSld name="Picture and Text DARK">
    <p:spTree>
      <p:nvGrpSpPr>
        <p:cNvPr id="308" name="Shape 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Google Shape;309;p35"/>
          <p:cNvSpPr/>
          <p:nvPr/>
        </p:nvSpPr>
        <p:spPr>
          <a:xfrm>
            <a:off x="0" y="0"/>
            <a:ext cx="1872000" cy="981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Fira Sans"/>
              <a:buNone/>
            </a:pPr>
            <a:r>
              <a:t/>
            </a:r>
            <a:endParaRPr b="0" sz="1600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310" name="Google Shape;310;p35"/>
          <p:cNvSpPr/>
          <p:nvPr>
            <p:ph idx="2" type="pic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</p:sp>
      <p:sp>
        <p:nvSpPr>
          <p:cNvPr id="311" name="Google Shape;311;p35"/>
          <p:cNvSpPr txBox="1"/>
          <p:nvPr>
            <p:ph idx="1" type="body"/>
          </p:nvPr>
        </p:nvSpPr>
        <p:spPr>
          <a:xfrm>
            <a:off x="0" y="3717000"/>
            <a:ext cx="12192000" cy="3141001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2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None/>
              <a:defRPr/>
            </a:lvl1pPr>
            <a:lvl2pPr indent="-3429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2pPr>
            <a:lvl3pPr indent="-3429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/>
            </a:lvl6pPr>
            <a:lvl7pPr indent="-3429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7pPr>
            <a:lvl8pPr indent="-3429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8pPr>
            <a:lvl9pPr indent="-3429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800"/>
              <a:buChar char="−"/>
              <a:defRPr/>
            </a:lvl9pPr>
          </a:lstStyle>
          <a:p/>
        </p:txBody>
      </p:sp>
      <p:sp>
        <p:nvSpPr>
          <p:cNvPr id="312" name="Google Shape;312;p35"/>
          <p:cNvSpPr txBox="1"/>
          <p:nvPr>
            <p:ph idx="3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313" name="Google Shape;313;p35"/>
          <p:cNvSpPr txBox="1"/>
          <p:nvPr>
            <p:ph idx="4" type="body"/>
          </p:nvPr>
        </p:nvSpPr>
        <p:spPr>
          <a:xfrm>
            <a:off x="407988" y="669600"/>
            <a:ext cx="432000" cy="1944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314" name="Google Shape;314;p35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315" name="Google Shape;315;p35"/>
          <p:cNvSpPr txBox="1"/>
          <p:nvPr>
            <p:ph idx="5" type="body"/>
          </p:nvPr>
        </p:nvSpPr>
        <p:spPr>
          <a:xfrm>
            <a:off x="1055650" y="1773975"/>
            <a:ext cx="7920000" cy="4391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-228600" lvl="0" marL="4572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b="1" sz="2400">
                <a:solidFill>
                  <a:schemeClr val="lt1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lt1"/>
                </a:solidFill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316" name="Google Shape;316;p35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317" name="Google Shape;317;p35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318" name="Google Shape;318;p35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319" name="Google Shape;319;p35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5654">
          <p15:clr>
            <a:srgbClr val="F26B43"/>
          </p15:clr>
        </p15:guide>
        <p15:guide id="2" pos="665">
          <p15:clr>
            <a:srgbClr val="F26B43"/>
          </p15:clr>
        </p15:guide>
        <p15:guide id="3" pos="257">
          <p15:clr>
            <a:srgbClr val="A4A3A4"/>
          </p15:clr>
        </p15:guide>
        <p15:guide id="4" pos="7423">
          <p15:clr>
            <a:srgbClr val="A4A3A4"/>
          </p15:clr>
        </p15:guide>
        <p15:guide id="5" orient="horz" pos="1117">
          <p15:clr>
            <a:srgbClr val="F26B43"/>
          </p15:clr>
        </p15:guide>
        <p15:guide id="6" orient="horz" pos="3883">
          <p15:clr>
            <a:srgbClr val="F26B43"/>
          </p15:clr>
        </p15:guide>
        <p15:guide id="7" orient="horz" pos="323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Picture and Textcard BRIGHT">
  <p:cSld name="Picture and Textcard BRIGHT">
    <p:spTree>
      <p:nvGrpSpPr>
        <p:cNvPr id="320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Google Shape;321;p36"/>
          <p:cNvSpPr/>
          <p:nvPr/>
        </p:nvSpPr>
        <p:spPr>
          <a:xfrm>
            <a:off x="0" y="0"/>
            <a:ext cx="1872000" cy="981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Fira Sans"/>
              <a:buNone/>
            </a:pPr>
            <a:r>
              <a:t/>
            </a:r>
            <a:endParaRPr b="0" sz="1600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322" name="Google Shape;322;p36"/>
          <p:cNvSpPr/>
          <p:nvPr>
            <p:ph idx="2" type="pic"/>
          </p:nvPr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323" name="Google Shape;323;p36"/>
          <p:cNvSpPr txBox="1"/>
          <p:nvPr>
            <p:ph idx="1" type="body"/>
          </p:nvPr>
        </p:nvSpPr>
        <p:spPr>
          <a:xfrm>
            <a:off x="0" y="3717000"/>
            <a:ext cx="12192000" cy="31410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4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9pPr>
          </a:lstStyle>
          <a:p/>
        </p:txBody>
      </p:sp>
      <p:sp>
        <p:nvSpPr>
          <p:cNvPr id="324" name="Google Shape;324;p36"/>
          <p:cNvSpPr txBox="1"/>
          <p:nvPr>
            <p:ph idx="3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325" name="Google Shape;325;p36"/>
          <p:cNvSpPr txBox="1"/>
          <p:nvPr>
            <p:ph idx="4" type="body"/>
          </p:nvPr>
        </p:nvSpPr>
        <p:spPr>
          <a:xfrm>
            <a:off x="407988" y="669600"/>
            <a:ext cx="432000" cy="1944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326" name="Google Shape;326;p36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327" name="Google Shape;327;p36"/>
          <p:cNvSpPr/>
          <p:nvPr>
            <p:ph idx="5" type="body"/>
          </p:nvPr>
        </p:nvSpPr>
        <p:spPr>
          <a:xfrm>
            <a:off x="7320000" y="1773000"/>
            <a:ext cx="4032000" cy="4392000"/>
          </a:xfrm>
          <a:prstGeom prst="roundRect">
            <a:avLst>
              <a:gd fmla="val 2835" name="adj"/>
            </a:avLst>
          </a:prstGeom>
          <a:solidFill>
            <a:schemeClr val="dk2"/>
          </a:solidFill>
          <a:ln>
            <a:noFill/>
          </a:ln>
        </p:spPr>
        <p:txBody>
          <a:bodyPr anchorCtr="0" anchor="t" bIns="0" lIns="216000" spcFirstLastPara="1" rIns="216000" wrap="square" tIns="21600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>
                <a:solidFill>
                  <a:schemeClr val="lt1"/>
                </a:solidFill>
              </a:defRPr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lt1"/>
              </a:buClr>
              <a:buSzPts val="1000"/>
              <a:buChar char="−"/>
              <a:defRPr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328" name="Google Shape;328;p36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329" name="Google Shape;329;p36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330" name="Google Shape;330;p36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331" name="Google Shape;331;p36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7151">
          <p15:clr>
            <a:srgbClr val="F26B43"/>
          </p15:clr>
        </p15:guide>
        <p15:guide id="2" pos="665">
          <p15:clr>
            <a:srgbClr val="F26B43"/>
          </p15:clr>
        </p15:guide>
        <p15:guide id="3" pos="257">
          <p15:clr>
            <a:srgbClr val="A4A3A4"/>
          </p15:clr>
        </p15:guide>
        <p15:guide id="4" pos="7423">
          <p15:clr>
            <a:srgbClr val="A4A3A4"/>
          </p15:clr>
        </p15:guide>
        <p15:guide id="5" orient="horz" pos="323">
          <p15:clr>
            <a:srgbClr val="F26B43"/>
          </p15:clr>
        </p15:guide>
        <p15:guide id="6" orient="horz" pos="1117">
          <p15:clr>
            <a:srgbClr val="F26B43"/>
          </p15:clr>
        </p15:guide>
        <p15:guide id="7" orient="horz" pos="3883">
          <p15:clr>
            <a:srgbClr val="F26B43"/>
          </p15:clr>
        </p15:guide>
        <p15:guide id="8" pos="4611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Picture and Textcard DARK">
  <p:cSld name="Picture and Textcard DARK">
    <p:spTree>
      <p:nvGrpSpPr>
        <p:cNvPr id="332" name="Shape 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Google Shape;333;p37"/>
          <p:cNvSpPr/>
          <p:nvPr/>
        </p:nvSpPr>
        <p:spPr>
          <a:xfrm>
            <a:off x="0" y="0"/>
            <a:ext cx="1872000" cy="981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Fira Sans"/>
              <a:buNone/>
            </a:pPr>
            <a:r>
              <a:t/>
            </a:r>
            <a:endParaRPr b="0" sz="1600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334" name="Google Shape;334;p37"/>
          <p:cNvSpPr/>
          <p:nvPr>
            <p:ph idx="2" type="pic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</p:sp>
      <p:sp>
        <p:nvSpPr>
          <p:cNvPr id="335" name="Google Shape;335;p37"/>
          <p:cNvSpPr txBox="1"/>
          <p:nvPr>
            <p:ph idx="1" type="body"/>
          </p:nvPr>
        </p:nvSpPr>
        <p:spPr>
          <a:xfrm>
            <a:off x="0" y="3717000"/>
            <a:ext cx="12192000" cy="3141001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2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None/>
              <a:defRPr/>
            </a:lvl1pPr>
            <a:lvl2pPr indent="-3429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2pPr>
            <a:lvl3pPr indent="-3429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/>
            </a:lvl6pPr>
            <a:lvl7pPr indent="-3429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7pPr>
            <a:lvl8pPr indent="-3429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8pPr>
            <a:lvl9pPr indent="-3429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800"/>
              <a:buChar char="−"/>
              <a:defRPr/>
            </a:lvl9pPr>
          </a:lstStyle>
          <a:p/>
        </p:txBody>
      </p:sp>
      <p:sp>
        <p:nvSpPr>
          <p:cNvPr id="336" name="Google Shape;336;p37"/>
          <p:cNvSpPr txBox="1"/>
          <p:nvPr>
            <p:ph idx="3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337" name="Google Shape;337;p37"/>
          <p:cNvSpPr txBox="1"/>
          <p:nvPr>
            <p:ph idx="4" type="body"/>
          </p:nvPr>
        </p:nvSpPr>
        <p:spPr>
          <a:xfrm>
            <a:off x="407988" y="669600"/>
            <a:ext cx="432000" cy="1944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338" name="Google Shape;338;p37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339" name="Google Shape;339;p37"/>
          <p:cNvSpPr/>
          <p:nvPr>
            <p:ph idx="5" type="body"/>
          </p:nvPr>
        </p:nvSpPr>
        <p:spPr>
          <a:xfrm>
            <a:off x="7320000" y="1773000"/>
            <a:ext cx="4032000" cy="4392000"/>
          </a:xfrm>
          <a:prstGeom prst="roundRect">
            <a:avLst>
              <a:gd fmla="val 2835" name="adj"/>
            </a:avLst>
          </a:prstGeom>
          <a:solidFill>
            <a:schemeClr val="lt1"/>
          </a:solidFill>
          <a:ln>
            <a:noFill/>
          </a:ln>
        </p:spPr>
        <p:txBody>
          <a:bodyPr anchorCtr="0" anchor="t" bIns="0" lIns="216000" spcFirstLastPara="1" rIns="216000" wrap="square" tIns="216000">
            <a:noAutofit/>
          </a:bodyPr>
          <a:lstStyle>
            <a:lvl1pPr indent="-3429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1pPr>
            <a:lvl2pPr indent="-3429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2pPr>
            <a:lvl3pPr indent="-3429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/>
            </a:lvl6pPr>
            <a:lvl7pPr indent="-3429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7pPr>
            <a:lvl8pPr indent="-3429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8pPr>
            <a:lvl9pPr indent="-3429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800"/>
              <a:buChar char="−"/>
              <a:defRPr/>
            </a:lvl9pPr>
          </a:lstStyle>
          <a:p/>
        </p:txBody>
      </p:sp>
      <p:sp>
        <p:nvSpPr>
          <p:cNvPr id="340" name="Google Shape;340;p37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341" name="Google Shape;341;p37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342" name="Google Shape;342;p37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343" name="Google Shape;343;p37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7151">
          <p15:clr>
            <a:srgbClr val="F26B43"/>
          </p15:clr>
        </p15:guide>
        <p15:guide id="2" pos="4611">
          <p15:clr>
            <a:srgbClr val="F26B43"/>
          </p15:clr>
        </p15:guide>
        <p15:guide id="3" pos="7423">
          <p15:clr>
            <a:srgbClr val="A4A3A4"/>
          </p15:clr>
        </p15:guide>
        <p15:guide id="4" pos="257">
          <p15:clr>
            <a:srgbClr val="A4A3A4"/>
          </p15:clr>
        </p15:guide>
        <p15:guide id="5" pos="665">
          <p15:clr>
            <a:srgbClr val="F26B43"/>
          </p15:clr>
        </p15:guide>
        <p15:guide id="6" orient="horz" pos="323">
          <p15:clr>
            <a:srgbClr val="F26B43"/>
          </p15:clr>
        </p15:guide>
        <p15:guide id="7" orient="horz" pos="1117">
          <p15:clr>
            <a:srgbClr val="F26B43"/>
          </p15:clr>
        </p15:guide>
        <p15:guide id="8" orient="horz" pos="3883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Content with Picture DARK">
  <p:cSld name="Content with Picture DARK">
    <p:spTree>
      <p:nvGrpSpPr>
        <p:cNvPr id="70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Google Shape;71;p1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3" imgH="1588" imgW="1588" progId="TCLayout.ActiveDocument.1" spid="_x0000_s1">
                  <p:embed/>
                </p:oleObj>
              </mc:Choice>
              <mc:Fallback>
                <p:oleObj r:id="rId4" imgH="1588" imgW="1588" progId="TCLayout.ActiveDocument.1">
                  <p:embed/>
                  <p:pic>
                    <p:nvPicPr>
                      <p:cNvPr id="71" name="Google Shape;71;p11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2" name="Google Shape;72;p11"/>
          <p:cNvPicPr preferRelativeResize="0"/>
          <p:nvPr/>
        </p:nvPicPr>
        <p:blipFill rotWithShape="1">
          <a:blip r:embed="rId6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Google Shape;73;p11"/>
          <p:cNvPicPr preferRelativeResize="0"/>
          <p:nvPr/>
        </p:nvPicPr>
        <p:blipFill rotWithShape="1">
          <a:blip r:embed="rId7">
            <a:alphaModFix/>
          </a:blip>
          <a:srcRect b="0" l="0" r="0" t="0"/>
          <a:stretch/>
        </p:blipFill>
        <p:spPr>
          <a:xfrm>
            <a:off x="61559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74" name="Google Shape;74;p11"/>
          <p:cNvSpPr txBox="1"/>
          <p:nvPr>
            <p:ph type="title"/>
          </p:nvPr>
        </p:nvSpPr>
        <p:spPr>
          <a:xfrm>
            <a:off x="1055689" y="512796"/>
            <a:ext cx="511175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  <a:defRPr sz="34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75" name="Google Shape;75;p11"/>
          <p:cNvSpPr txBox="1"/>
          <p:nvPr>
            <p:ph idx="1" type="body"/>
          </p:nvPr>
        </p:nvSpPr>
        <p:spPr>
          <a:xfrm>
            <a:off x="1056001" y="1772388"/>
            <a:ext cx="5111454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>
                <a:solidFill>
                  <a:schemeClr val="lt1"/>
                </a:solidFill>
              </a:defRPr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lt1"/>
              </a:buClr>
              <a:buSzPts val="1000"/>
              <a:buChar char="−"/>
              <a:defRPr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76" name="Google Shape;76;p11"/>
          <p:cNvSpPr/>
          <p:nvPr>
            <p:ph idx="2" type="pic"/>
          </p:nvPr>
        </p:nvSpPr>
        <p:spPr>
          <a:xfrm>
            <a:off x="6672262" y="0"/>
            <a:ext cx="5519737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77" name="Google Shape;77;p11"/>
          <p:cNvSpPr txBox="1"/>
          <p:nvPr>
            <p:ph idx="3" type="body"/>
          </p:nvPr>
        </p:nvSpPr>
        <p:spPr>
          <a:xfrm>
            <a:off x="6672262" y="3717000"/>
            <a:ext cx="5519737" cy="31410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4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9pPr>
          </a:lstStyle>
          <a:p/>
        </p:txBody>
      </p:sp>
      <p:sp>
        <p:nvSpPr>
          <p:cNvPr id="78" name="Google Shape;78;p11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79" name="Google Shape;79;p11"/>
          <p:cNvSpPr txBox="1"/>
          <p:nvPr>
            <p:ph idx="11" type="ftr"/>
          </p:nvPr>
        </p:nvSpPr>
        <p:spPr>
          <a:xfrm>
            <a:off x="1055687" y="6453000"/>
            <a:ext cx="4752976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80" name="Google Shape;80;p11"/>
          <p:cNvSpPr txBox="1"/>
          <p:nvPr>
            <p:ph idx="10" type="dt"/>
          </p:nvPr>
        </p:nvSpPr>
        <p:spPr>
          <a:xfrm>
            <a:off x="6888000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81" name="Google Shape;81;p11"/>
          <p:cNvPicPr preferRelativeResize="0"/>
          <p:nvPr/>
        </p:nvPicPr>
        <p:blipFill rotWithShape="1">
          <a:blip r:embed="rId7">
            <a:alphaModFix/>
          </a:blip>
          <a:srcRect b="0" l="0" r="0" t="0"/>
          <a:stretch/>
        </p:blipFill>
        <p:spPr>
          <a:xfrm>
            <a:off x="407988" y="669600"/>
            <a:ext cx="432000" cy="19748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3885">
          <p15:clr>
            <a:srgbClr val="F26B43"/>
          </p15:clr>
        </p15:guide>
        <p15:guide id="2" pos="4203">
          <p15:clr>
            <a:srgbClr val="F26B43"/>
          </p15:clr>
        </p15:guide>
        <p15:guide id="3" pos="665">
          <p15:clr>
            <a:srgbClr val="F26B43"/>
          </p15:clr>
        </p15:guide>
        <p15:guide id="4" pos="257">
          <p15:clr>
            <a:srgbClr val="A4A3A4"/>
          </p15:clr>
        </p15:guide>
        <p15:guide id="5" orient="horz" pos="323">
          <p15:clr>
            <a:srgbClr val="F26B43"/>
          </p15:clr>
        </p15:guide>
        <p15:guide id="6" orient="horz" pos="1117">
          <p15:clr>
            <a:srgbClr val="F26B43"/>
          </p15:clr>
        </p15:guide>
        <p15:guide id="7" orient="horz" pos="3883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Claim WHITE">
  <p:cSld name="Claim WHITE">
    <p:spTree>
      <p:nvGrpSpPr>
        <p:cNvPr id="344" name="Shape 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Google Shape;345;p38"/>
          <p:cNvSpPr txBox="1"/>
          <p:nvPr>
            <p:ph idx="1" type="body"/>
          </p:nvPr>
        </p:nvSpPr>
        <p:spPr>
          <a:xfrm>
            <a:off x="408000" y="621000"/>
            <a:ext cx="11376012" cy="554485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-228600" lvl="0" marL="4572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5000"/>
              <a:buFont typeface="Fira Sans"/>
              <a:buNone/>
              <a:defRPr b="1" sz="5000">
                <a:solidFill>
                  <a:schemeClr val="dk2"/>
                </a:solidFill>
              </a:defRPr>
            </a:lvl1pPr>
            <a:lvl2pPr indent="-228600" lvl="1" marL="9144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dk2"/>
                </a:solidFill>
              </a:defRPr>
            </a:lvl2pPr>
            <a:lvl3pPr indent="-228600" lvl="2" marL="13716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dk2"/>
                </a:solidFill>
              </a:defRPr>
            </a:lvl3pPr>
            <a:lvl4pPr indent="-228600" lvl="3" marL="18288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dk2"/>
                </a:solidFill>
              </a:defRPr>
            </a:lvl4pPr>
            <a:lvl5pPr indent="-228600" lvl="4" marL="22860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400"/>
              <a:buFont typeface="Fira Sans"/>
              <a:buNone/>
              <a:defRPr sz="44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dk2"/>
                </a:solidFill>
              </a:defRPr>
            </a:lvl6pPr>
            <a:lvl7pPr indent="-228600" lvl="6" marL="32004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dk2"/>
                </a:solidFill>
              </a:defRPr>
            </a:lvl7pPr>
            <a:lvl8pPr indent="-228600" lvl="7" marL="36576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dk2"/>
                </a:solidFill>
              </a:defRPr>
            </a:lvl8pPr>
            <a:lvl9pPr indent="-228600" lvl="8" marL="41148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dk2"/>
                </a:solidFill>
              </a:defRPr>
            </a:lvl9pPr>
          </a:lstStyle>
          <a:p/>
        </p:txBody>
      </p:sp>
      <p:sp>
        <p:nvSpPr>
          <p:cNvPr id="346" name="Google Shape;346;p38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347" name="Google Shape;347;p38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348" name="Google Shape;348;p38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orient="horz" pos="3883">
          <p15:clr>
            <a:srgbClr val="F26B43"/>
          </p15:clr>
        </p15:guide>
        <p15:guide id="3" pos="257">
          <p15:clr>
            <a:srgbClr val="F26B43"/>
          </p15:clr>
        </p15:guide>
        <p15:guide id="4" pos="7423">
          <p15:clr>
            <a:srgbClr val="F26B43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Claim DARK">
  <p:cSld name="Claim DARK">
    <p:spTree>
      <p:nvGrpSpPr>
        <p:cNvPr id="349" name="Shape 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0" name="Google Shape;350;p39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51" name="Google Shape;351;p39"/>
          <p:cNvSpPr txBox="1"/>
          <p:nvPr>
            <p:ph idx="1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352" name="Google Shape;352;p39"/>
          <p:cNvSpPr txBox="1"/>
          <p:nvPr>
            <p:ph idx="2" type="body"/>
          </p:nvPr>
        </p:nvSpPr>
        <p:spPr>
          <a:xfrm>
            <a:off x="407988" y="669600"/>
            <a:ext cx="432000" cy="1944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353" name="Google Shape;353;p39"/>
          <p:cNvSpPr txBox="1"/>
          <p:nvPr>
            <p:ph idx="3" type="body"/>
          </p:nvPr>
        </p:nvSpPr>
        <p:spPr>
          <a:xfrm>
            <a:off x="408000" y="621000"/>
            <a:ext cx="11376012" cy="554485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-228600" lvl="0" marL="4572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5000"/>
              <a:buFont typeface="Fira Sans"/>
              <a:buNone/>
              <a:defRPr b="1" sz="5000">
                <a:solidFill>
                  <a:schemeClr val="lt1"/>
                </a:solidFill>
              </a:defRPr>
            </a:lvl1pPr>
            <a:lvl2pPr indent="-228600" lvl="1" marL="9144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lt1"/>
                </a:solidFill>
              </a:defRPr>
            </a:lvl2pPr>
            <a:lvl3pPr indent="-228600" lvl="2" marL="13716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lt1"/>
                </a:solidFill>
              </a:defRPr>
            </a:lvl3pPr>
            <a:lvl4pPr indent="-228600" lvl="3" marL="18288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lt1"/>
                </a:solidFill>
              </a:defRPr>
            </a:lvl4pPr>
            <a:lvl5pPr indent="-228600" lvl="4" marL="22860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Fira Sans"/>
              <a:buNone/>
              <a:defRPr sz="44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lt1"/>
                </a:solidFill>
              </a:defRPr>
            </a:lvl6pPr>
            <a:lvl7pPr indent="-228600" lvl="6" marL="32004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lt1"/>
                </a:solidFill>
              </a:defRPr>
            </a:lvl7pPr>
            <a:lvl8pPr indent="-228600" lvl="7" marL="36576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lt1"/>
                </a:solidFill>
              </a:defRPr>
            </a:lvl8pPr>
            <a:lvl9pPr indent="-228600" lvl="8" marL="41148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354" name="Google Shape;354;p39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355" name="Google Shape;355;p39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356" name="Google Shape;356;p39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357" name="Google Shape;357;p39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orient="horz" pos="3883">
          <p15:clr>
            <a:srgbClr val="F26B43"/>
          </p15:clr>
        </p15:guide>
        <p15:guide id="3" pos="257">
          <p15:clr>
            <a:srgbClr val="F26B43"/>
          </p15:clr>
        </p15:guide>
        <p15:guide id="4" pos="7423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Claim and Picture BRIGHT">
  <p:cSld name="Claim and Picture BRIGHT">
    <p:spTree>
      <p:nvGrpSpPr>
        <p:cNvPr id="358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Google Shape;359;p40"/>
          <p:cNvSpPr/>
          <p:nvPr>
            <p:ph idx="2" type="pic"/>
          </p:nvPr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360" name="Google Shape;360;p40"/>
          <p:cNvSpPr txBox="1"/>
          <p:nvPr>
            <p:ph idx="1" type="body"/>
          </p:nvPr>
        </p:nvSpPr>
        <p:spPr>
          <a:xfrm>
            <a:off x="0" y="3717000"/>
            <a:ext cx="12192000" cy="31410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4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9pPr>
          </a:lstStyle>
          <a:p/>
        </p:txBody>
      </p:sp>
      <p:sp>
        <p:nvSpPr>
          <p:cNvPr id="361" name="Google Shape;361;p40"/>
          <p:cNvSpPr txBox="1"/>
          <p:nvPr>
            <p:ph idx="3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362" name="Google Shape;362;p40"/>
          <p:cNvSpPr txBox="1"/>
          <p:nvPr>
            <p:ph idx="4" type="body"/>
          </p:nvPr>
        </p:nvSpPr>
        <p:spPr>
          <a:xfrm>
            <a:off x="407988" y="669600"/>
            <a:ext cx="432000" cy="1944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363" name="Google Shape;363;p40"/>
          <p:cNvSpPr txBox="1"/>
          <p:nvPr>
            <p:ph idx="5" type="body"/>
          </p:nvPr>
        </p:nvSpPr>
        <p:spPr>
          <a:xfrm>
            <a:off x="408000" y="621000"/>
            <a:ext cx="11376012" cy="554485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-228600" lvl="0" marL="4572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5000"/>
              <a:buFont typeface="Fira Sans"/>
              <a:buNone/>
              <a:defRPr b="1" sz="5000">
                <a:solidFill>
                  <a:schemeClr val="dk2"/>
                </a:solidFill>
              </a:defRPr>
            </a:lvl1pPr>
            <a:lvl2pPr indent="-228600" lvl="1" marL="9144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dk2"/>
                </a:solidFill>
              </a:defRPr>
            </a:lvl2pPr>
            <a:lvl3pPr indent="-228600" lvl="2" marL="13716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dk2"/>
                </a:solidFill>
              </a:defRPr>
            </a:lvl3pPr>
            <a:lvl4pPr indent="-228600" lvl="3" marL="18288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dk2"/>
                </a:solidFill>
              </a:defRPr>
            </a:lvl4pPr>
            <a:lvl5pPr indent="-228600" lvl="4" marL="22860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400"/>
              <a:buFont typeface="Fira Sans"/>
              <a:buNone/>
              <a:defRPr sz="44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dk2"/>
                </a:solidFill>
              </a:defRPr>
            </a:lvl6pPr>
            <a:lvl7pPr indent="-228600" lvl="6" marL="32004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dk2"/>
                </a:solidFill>
              </a:defRPr>
            </a:lvl7pPr>
            <a:lvl8pPr indent="-228600" lvl="7" marL="36576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dk2"/>
                </a:solidFill>
              </a:defRPr>
            </a:lvl8pPr>
            <a:lvl9pPr indent="-228600" lvl="8" marL="41148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dk2"/>
                </a:solidFill>
              </a:defRPr>
            </a:lvl9pPr>
          </a:lstStyle>
          <a:p/>
        </p:txBody>
      </p:sp>
      <p:sp>
        <p:nvSpPr>
          <p:cNvPr id="364" name="Google Shape;364;p40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365" name="Google Shape;365;p40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366" name="Google Shape;366;p40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367" name="Google Shape;367;p40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orient="horz" pos="3883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Claim and Picture DARK">
  <p:cSld name="Claim and Picture DARK">
    <p:spTree>
      <p:nvGrpSpPr>
        <p:cNvPr id="368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p41"/>
          <p:cNvSpPr/>
          <p:nvPr>
            <p:ph idx="2" type="pic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</p:sp>
      <p:sp>
        <p:nvSpPr>
          <p:cNvPr id="370" name="Google Shape;370;p41"/>
          <p:cNvSpPr txBox="1"/>
          <p:nvPr>
            <p:ph idx="1" type="body"/>
          </p:nvPr>
        </p:nvSpPr>
        <p:spPr>
          <a:xfrm>
            <a:off x="0" y="3717000"/>
            <a:ext cx="12192000" cy="3141001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2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None/>
              <a:defRPr/>
            </a:lvl1pPr>
            <a:lvl2pPr indent="-3429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2pPr>
            <a:lvl3pPr indent="-3429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/>
            </a:lvl6pPr>
            <a:lvl7pPr indent="-3429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7pPr>
            <a:lvl8pPr indent="-3429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8pPr>
            <a:lvl9pPr indent="-3429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800"/>
              <a:buChar char="−"/>
              <a:defRPr/>
            </a:lvl9pPr>
          </a:lstStyle>
          <a:p/>
        </p:txBody>
      </p:sp>
      <p:sp>
        <p:nvSpPr>
          <p:cNvPr id="371" name="Google Shape;371;p41"/>
          <p:cNvSpPr txBox="1"/>
          <p:nvPr>
            <p:ph idx="3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372" name="Google Shape;372;p41"/>
          <p:cNvSpPr txBox="1"/>
          <p:nvPr>
            <p:ph idx="4" type="body"/>
          </p:nvPr>
        </p:nvSpPr>
        <p:spPr>
          <a:xfrm>
            <a:off x="407988" y="669600"/>
            <a:ext cx="432000" cy="1944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373" name="Google Shape;373;p41"/>
          <p:cNvSpPr txBox="1"/>
          <p:nvPr>
            <p:ph idx="5" type="body"/>
          </p:nvPr>
        </p:nvSpPr>
        <p:spPr>
          <a:xfrm>
            <a:off x="408000" y="621000"/>
            <a:ext cx="11376012" cy="554485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-228600" lvl="0" marL="4572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5000"/>
              <a:buFont typeface="Fira Sans"/>
              <a:buNone/>
              <a:defRPr b="1" sz="5000">
                <a:solidFill>
                  <a:schemeClr val="lt1"/>
                </a:solidFill>
              </a:defRPr>
            </a:lvl1pPr>
            <a:lvl2pPr indent="-228600" lvl="1" marL="9144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lt1"/>
                </a:solidFill>
              </a:defRPr>
            </a:lvl2pPr>
            <a:lvl3pPr indent="-228600" lvl="2" marL="13716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lt1"/>
                </a:solidFill>
              </a:defRPr>
            </a:lvl3pPr>
            <a:lvl4pPr indent="-228600" lvl="3" marL="18288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lt1"/>
                </a:solidFill>
              </a:defRPr>
            </a:lvl4pPr>
            <a:lvl5pPr indent="-228600" lvl="4" marL="22860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Fira Sans"/>
              <a:buNone/>
              <a:defRPr sz="44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lt1"/>
                </a:solidFill>
              </a:defRPr>
            </a:lvl6pPr>
            <a:lvl7pPr indent="-228600" lvl="6" marL="32004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lt1"/>
                </a:solidFill>
              </a:defRPr>
            </a:lvl7pPr>
            <a:lvl8pPr indent="-228600" lvl="7" marL="36576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lt1"/>
                </a:solidFill>
              </a:defRPr>
            </a:lvl8pPr>
            <a:lvl9pPr indent="-228600" lvl="8" marL="41148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374" name="Google Shape;374;p41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375" name="Google Shape;375;p41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376" name="Google Shape;376;p41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377" name="Google Shape;377;p41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orient="horz" pos="3883">
          <p15:clr>
            <a:srgbClr val="F26B43"/>
          </p15:clr>
        </p15:guide>
        <p15:guide id="3" pos="257">
          <p15:clr>
            <a:srgbClr val="F26B43"/>
          </p15:clr>
        </p15:guide>
        <p15:guide id="4" pos="7423">
          <p15:clr>
            <a:srgbClr val="F26B43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Blank WHITE">
  <p:cSld name="Blank WHITE">
    <p:spTree>
      <p:nvGrpSpPr>
        <p:cNvPr id="378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42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/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/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/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/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/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/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/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/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/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380" name="Google Shape;380;p42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381" name="Google Shape;381;p42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pos="665">
          <p15:clr>
            <a:srgbClr val="F26B43"/>
          </p15:clr>
        </p15:guide>
        <p15:guide id="3" orient="horz" pos="3883">
          <p15:clr>
            <a:srgbClr val="F26B43"/>
          </p15:clr>
        </p15:guide>
        <p15:guide id="4" pos="7423">
          <p15:clr>
            <a:srgbClr val="F26B43"/>
          </p15:clr>
        </p15:guide>
        <p15:guide id="5" pos="257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1_Picture and Text DARK">
  <p:cSld name="1_Picture and Text DARK">
    <p:spTree>
      <p:nvGrpSpPr>
        <p:cNvPr id="382" name="Shape 3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" name="Google Shape;383;p43"/>
          <p:cNvSpPr/>
          <p:nvPr/>
        </p:nvSpPr>
        <p:spPr>
          <a:xfrm>
            <a:off x="0" y="0"/>
            <a:ext cx="1872000" cy="981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Fira Sans"/>
              <a:buNone/>
            </a:pPr>
            <a:r>
              <a:t/>
            </a:r>
            <a:endParaRPr b="0" sz="1600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384" name="Google Shape;384;p43"/>
          <p:cNvSpPr/>
          <p:nvPr>
            <p:ph idx="2" type="pic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</p:sp>
      <p:sp>
        <p:nvSpPr>
          <p:cNvPr id="385" name="Google Shape;385;p43"/>
          <p:cNvSpPr txBox="1"/>
          <p:nvPr>
            <p:ph idx="1" type="body"/>
          </p:nvPr>
        </p:nvSpPr>
        <p:spPr>
          <a:xfrm>
            <a:off x="0" y="3717000"/>
            <a:ext cx="12192000" cy="3141001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2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None/>
              <a:defRPr/>
            </a:lvl1pPr>
            <a:lvl2pPr indent="-3429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2pPr>
            <a:lvl3pPr indent="-3429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/>
            </a:lvl6pPr>
            <a:lvl7pPr indent="-3429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7pPr>
            <a:lvl8pPr indent="-3429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8pPr>
            <a:lvl9pPr indent="-3429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800"/>
              <a:buChar char="−"/>
              <a:defRPr/>
            </a:lvl9pPr>
          </a:lstStyle>
          <a:p/>
        </p:txBody>
      </p:sp>
      <p:sp>
        <p:nvSpPr>
          <p:cNvPr id="386" name="Google Shape;386;p43"/>
          <p:cNvSpPr txBox="1"/>
          <p:nvPr>
            <p:ph idx="3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387" name="Google Shape;387;p43"/>
          <p:cNvSpPr txBox="1"/>
          <p:nvPr>
            <p:ph idx="4" type="body"/>
          </p:nvPr>
        </p:nvSpPr>
        <p:spPr>
          <a:xfrm>
            <a:off x="407988" y="613857"/>
            <a:ext cx="432000" cy="1944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388" name="Google Shape;388;p43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389" name="Google Shape;389;p43"/>
          <p:cNvSpPr txBox="1"/>
          <p:nvPr>
            <p:ph idx="5" type="body"/>
          </p:nvPr>
        </p:nvSpPr>
        <p:spPr>
          <a:xfrm>
            <a:off x="1055650" y="1773975"/>
            <a:ext cx="7920000" cy="4391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-228600" lvl="0" marL="4572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b="1" sz="2400">
                <a:solidFill>
                  <a:schemeClr val="lt1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lt1"/>
                </a:solidFill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390" name="Google Shape;390;p43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391" name="Google Shape;391;p43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392" name="Google Shape;392;p43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393" name="Google Shape;393;p43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  <p:pic>
        <p:nvPicPr>
          <p:cNvPr id="394" name="Google Shape;394;p43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3" y="0"/>
            <a:ext cx="12191994" cy="685799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5654">
          <p15:clr>
            <a:srgbClr val="F26B43"/>
          </p15:clr>
        </p15:guide>
        <p15:guide id="2" pos="665">
          <p15:clr>
            <a:srgbClr val="F26B43"/>
          </p15:clr>
        </p15:guide>
        <p15:guide id="3" pos="257">
          <p15:clr>
            <a:srgbClr val="A4A3A4"/>
          </p15:clr>
        </p15:guide>
        <p15:guide id="4" pos="7423">
          <p15:clr>
            <a:srgbClr val="A4A3A4"/>
          </p15:clr>
        </p15:guide>
        <p15:guide id="5" orient="horz" pos="1117">
          <p15:clr>
            <a:srgbClr val="F26B43"/>
          </p15:clr>
        </p15:guide>
        <p15:guide id="6" orient="horz" pos="3883">
          <p15:clr>
            <a:srgbClr val="F26B43"/>
          </p15:clr>
        </p15:guide>
        <p15:guide id="7" orient="horz" pos="323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1_Title and Content DARK">
  <p:cSld name="1_Title and Content DARK">
    <p:spTree>
      <p:nvGrpSpPr>
        <p:cNvPr id="395" name="Shape 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6" name="Google Shape;396;p44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3" imgH="1588" imgW="1588" progId="TCLayout.ActiveDocument.1" spid="_x0000_s1">
                  <p:embed/>
                </p:oleObj>
              </mc:Choice>
              <mc:Fallback>
                <p:oleObj r:id="rId4" imgH="1588" imgW="1588" progId="TCLayout.ActiveDocument.1">
                  <p:embed/>
                  <p:pic>
                    <p:nvPicPr>
                      <p:cNvPr id="396" name="Google Shape;396;p44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7" name="Google Shape;397;p44"/>
          <p:cNvPicPr preferRelativeResize="0"/>
          <p:nvPr/>
        </p:nvPicPr>
        <p:blipFill rotWithShape="1">
          <a:blip r:embed="rId6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98" name="Google Shape;398;p44"/>
          <p:cNvPicPr preferRelativeResize="0"/>
          <p:nvPr/>
        </p:nvPicPr>
        <p:blipFill rotWithShape="1">
          <a:blip r:embed="rId7">
            <a:alphaModFix/>
          </a:blip>
          <a:srcRect b="0" l="0" r="0" t="0"/>
          <a:stretch/>
        </p:blipFill>
        <p:spPr>
          <a:xfrm>
            <a:off x="407988" y="613857"/>
            <a:ext cx="432000" cy="197485"/>
          </a:xfrm>
          <a:prstGeom prst="rect">
            <a:avLst/>
          </a:prstGeom>
          <a:noFill/>
          <a:ln>
            <a:noFill/>
          </a:ln>
        </p:spPr>
      </p:pic>
      <p:pic>
        <p:nvPicPr>
          <p:cNvPr id="399" name="Google Shape;399;p44"/>
          <p:cNvPicPr preferRelativeResize="0"/>
          <p:nvPr/>
        </p:nvPicPr>
        <p:blipFill rotWithShape="1">
          <a:blip r:embed="rId7">
            <a:alphaModFix/>
          </a:blip>
          <a:srcRect b="0" l="0" r="0" t="0"/>
          <a:stretch/>
        </p:blipFill>
        <p:spPr>
          <a:xfrm>
            <a:off x="61559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pic>
        <p:nvPicPr>
          <p:cNvPr id="400" name="Google Shape;400;p44"/>
          <p:cNvPicPr preferRelativeResize="0"/>
          <p:nvPr/>
        </p:nvPicPr>
        <p:blipFill rotWithShape="1">
          <a:blip r:embed="rId8">
            <a:alphaModFix/>
          </a:blip>
          <a:srcRect b="0" l="0" r="0" t="0"/>
          <a:stretch/>
        </p:blipFill>
        <p:spPr>
          <a:xfrm>
            <a:off x="11322000" y="6414338"/>
            <a:ext cx="532705" cy="210187"/>
          </a:xfrm>
          <a:prstGeom prst="rect">
            <a:avLst/>
          </a:prstGeom>
          <a:noFill/>
          <a:ln>
            <a:noFill/>
          </a:ln>
        </p:spPr>
      </p:pic>
      <p:sp>
        <p:nvSpPr>
          <p:cNvPr id="401" name="Google Shape;401;p44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402" name="Google Shape;402;p44"/>
          <p:cNvSpPr txBox="1"/>
          <p:nvPr>
            <p:ph idx="1" type="body"/>
          </p:nvPr>
        </p:nvSpPr>
        <p:spPr>
          <a:xfrm>
            <a:off x="1056000" y="1772388"/>
            <a:ext cx="10728000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>
                <a:solidFill>
                  <a:schemeClr val="lt1"/>
                </a:solidFill>
              </a:defRPr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lt1"/>
              </a:buClr>
              <a:buSzPts val="1000"/>
              <a:buChar char="−"/>
              <a:defRPr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403" name="Google Shape;403;p44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404" name="Google Shape;404;p44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405" name="Google Shape;405;p44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406" name="Google Shape;406;p44"/>
          <p:cNvPicPr preferRelativeResize="0"/>
          <p:nvPr/>
        </p:nvPicPr>
        <p:blipFill rotWithShape="1">
          <a:blip r:embed="rId9">
            <a:alphaModFix/>
          </a:blip>
          <a:srcRect b="0" l="0" r="0" t="0"/>
          <a:stretch/>
        </p:blipFill>
        <p:spPr>
          <a:xfrm>
            <a:off x="9" y="5"/>
            <a:ext cx="12191991" cy="685799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pos="665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23">
          <p15:clr>
            <a:srgbClr val="FBAE40"/>
          </p15:clr>
        </p15:guide>
        <p15:guide id="5" orient="horz" pos="3883">
          <p15:clr>
            <a:srgbClr val="F26B43"/>
          </p15:clr>
        </p15:guide>
        <p15:guide id="6" pos="257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Blank DARK">
  <p:cSld name="Blank DARK">
    <p:spTree>
      <p:nvGrpSpPr>
        <p:cNvPr id="407" name="Shape 4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8" name="Google Shape;408;p45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09" name="Google Shape;409;p45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61559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pic>
        <p:nvPicPr>
          <p:cNvPr id="410" name="Google Shape;410;p45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407988" y="669600"/>
            <a:ext cx="432000" cy="197485"/>
          </a:xfrm>
          <a:prstGeom prst="rect">
            <a:avLst/>
          </a:prstGeom>
          <a:noFill/>
          <a:ln>
            <a:noFill/>
          </a:ln>
        </p:spPr>
      </p:pic>
      <p:sp>
        <p:nvSpPr>
          <p:cNvPr id="411" name="Google Shape;411;p45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412" name="Google Shape;412;p45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413" name="Google Shape;413;p45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414" name="Google Shape;414;p45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pos="257">
          <p15:clr>
            <a:srgbClr val="A4A3A4"/>
          </p15:clr>
        </p15:guide>
        <p15:guide id="3" pos="665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3883">
          <p15:clr>
            <a:srgbClr val="F26B43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Contact slide">
  <p:cSld name="Contact slide">
    <p:bg>
      <p:bgPr>
        <a:solidFill>
          <a:schemeClr val="dk2"/>
        </a:solidFill>
      </p:bgPr>
    </p:bg>
    <p:spTree>
      <p:nvGrpSpPr>
        <p:cNvPr id="415" name="Shape 4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" name="Google Shape;416;p46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61559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pic>
        <p:nvPicPr>
          <p:cNvPr id="417" name="Google Shape;417;p46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407988" y="669600"/>
            <a:ext cx="432000" cy="197485"/>
          </a:xfrm>
          <a:prstGeom prst="rect">
            <a:avLst/>
          </a:prstGeom>
          <a:noFill/>
          <a:ln>
            <a:noFill/>
          </a:ln>
        </p:spPr>
      </p:pic>
      <p:sp>
        <p:nvSpPr>
          <p:cNvPr id="418" name="Google Shape;418;p46"/>
          <p:cNvSpPr txBox="1"/>
          <p:nvPr>
            <p:ph type="title"/>
          </p:nvPr>
        </p:nvSpPr>
        <p:spPr>
          <a:xfrm>
            <a:off x="1056000" y="2421000"/>
            <a:ext cx="8424000" cy="3744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800"/>
              <a:buFont typeface="Fira Sans Condensed"/>
              <a:buNone/>
              <a:defRPr sz="88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419" name="Google Shape;419;p46"/>
          <p:cNvSpPr txBox="1"/>
          <p:nvPr>
            <p:ph idx="1" type="body"/>
          </p:nvPr>
        </p:nvSpPr>
        <p:spPr>
          <a:xfrm>
            <a:off x="10199687" y="4797850"/>
            <a:ext cx="1584000" cy="136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  <a:defRPr b="0" sz="1000">
                <a:solidFill>
                  <a:schemeClr val="lt1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  <a:defRPr b="0" sz="1000">
                <a:solidFill>
                  <a:schemeClr val="lt1"/>
                </a:solidFill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  <a:defRPr b="0" sz="1000">
                <a:solidFill>
                  <a:schemeClr val="lt1"/>
                </a:solidFill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  <a:defRPr b="0" sz="1000"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Fira Sans"/>
              <a:buNone/>
              <a:defRPr b="0" sz="1000"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  <a:defRPr b="0" sz="1000">
                <a:solidFill>
                  <a:schemeClr val="lt1"/>
                </a:solidFill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  <a:defRPr b="0" sz="1000">
                <a:solidFill>
                  <a:schemeClr val="lt1"/>
                </a:solidFill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  <a:defRPr b="0" sz="1000">
                <a:solidFill>
                  <a:schemeClr val="lt1"/>
                </a:solidFill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  <a:defRPr b="0" sz="1000"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420" name="Google Shape;420;p46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421" name="Google Shape;421;p46"/>
          <p:cNvSpPr txBox="1"/>
          <p:nvPr>
            <p:ph idx="11" type="ftr"/>
          </p:nvPr>
        </p:nvSpPr>
        <p:spPr>
          <a:xfrm>
            <a:off x="1055687" y="6453000"/>
            <a:ext cx="4824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422" name="Google Shape;422;p46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423" name="Google Shape;423;p46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  <p:pic>
        <p:nvPicPr>
          <p:cNvPr id="424" name="Google Shape;424;p46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9912967" y="509517"/>
            <a:ext cx="1727034" cy="53685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6425">
          <p15:clr>
            <a:srgbClr val="A4A3A4"/>
          </p15:clr>
        </p15:guide>
        <p15:guide id="2" orient="horz" pos="1525">
          <p15:clr>
            <a:srgbClr val="F26B43"/>
          </p15:clr>
        </p15:guide>
        <p15:guide id="3" pos="5972">
          <p15:clr>
            <a:srgbClr val="F26B43"/>
          </p15:clr>
        </p15:guide>
        <p15:guide id="4" pos="665">
          <p15:clr>
            <a:srgbClr val="F26B43"/>
          </p15:clr>
        </p15:guide>
        <p15:guide id="5" orient="horz" pos="3883">
          <p15:clr>
            <a:srgbClr val="F26B43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Intro/Outro" showMasterSp="0">
  <p:cSld name="Intro/Outro">
    <p:bg>
      <p:bgPr>
        <a:solidFill>
          <a:schemeClr val="dk2"/>
        </a:solidFill>
      </p:bgPr>
    </p:bg>
    <p:spTree>
      <p:nvGrpSpPr>
        <p:cNvPr id="473" name="Shape 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4" name="Google Shape;474;g3a84205419e_2_48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4189289" y="2836289"/>
            <a:ext cx="3813423" cy="11854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hree Content DARK">
  <p:cSld name="Three Content DARK">
    <p:spTree>
      <p:nvGrpSpPr>
        <p:cNvPr id="82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Google Shape;83;p12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3" imgH="1588" imgW="1588" progId="TCLayout.ActiveDocument.1" spid="_x0000_s1">
                  <p:embed/>
                </p:oleObj>
              </mc:Choice>
              <mc:Fallback>
                <p:oleObj r:id="rId4" imgH="1588" imgW="1588" progId="TCLayout.ActiveDocument.1">
                  <p:embed/>
                  <p:pic>
                    <p:nvPicPr>
                      <p:cNvPr id="83" name="Google Shape;83;p12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4" name="Google Shape;84;p12"/>
          <p:cNvPicPr preferRelativeResize="0"/>
          <p:nvPr/>
        </p:nvPicPr>
        <p:blipFill rotWithShape="1">
          <a:blip r:embed="rId6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5" name="Google Shape;85;p12"/>
          <p:cNvPicPr preferRelativeResize="0"/>
          <p:nvPr/>
        </p:nvPicPr>
        <p:blipFill rotWithShape="1">
          <a:blip r:embed="rId7">
            <a:alphaModFix/>
          </a:blip>
          <a:srcRect b="0" l="0" r="0" t="0"/>
          <a:stretch/>
        </p:blipFill>
        <p:spPr>
          <a:xfrm>
            <a:off x="61559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86" name="Google Shape;86;p12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87" name="Google Shape;87;p12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88" name="Google Shape;88;p12"/>
          <p:cNvSpPr txBox="1"/>
          <p:nvPr>
            <p:ph idx="1" type="body"/>
          </p:nvPr>
        </p:nvSpPr>
        <p:spPr>
          <a:xfrm>
            <a:off x="1056025" y="1772816"/>
            <a:ext cx="3239775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>
                <a:solidFill>
                  <a:schemeClr val="lt1"/>
                </a:solidFill>
              </a:defRPr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lt1"/>
              </a:buClr>
              <a:buSzPts val="1000"/>
              <a:buChar char="−"/>
              <a:defRPr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89" name="Google Shape;89;p12"/>
          <p:cNvSpPr txBox="1"/>
          <p:nvPr>
            <p:ph idx="2" type="body"/>
          </p:nvPr>
        </p:nvSpPr>
        <p:spPr>
          <a:xfrm>
            <a:off x="4799856" y="1772816"/>
            <a:ext cx="3239775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>
                <a:solidFill>
                  <a:schemeClr val="lt1"/>
                </a:solidFill>
              </a:defRPr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lt1"/>
              </a:buClr>
              <a:buSzPts val="1000"/>
              <a:buChar char="−"/>
              <a:defRPr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90" name="Google Shape;90;p12"/>
          <p:cNvSpPr txBox="1"/>
          <p:nvPr>
            <p:ph idx="3" type="body"/>
          </p:nvPr>
        </p:nvSpPr>
        <p:spPr>
          <a:xfrm>
            <a:off x="8544272" y="1772388"/>
            <a:ext cx="3239775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>
                <a:solidFill>
                  <a:schemeClr val="lt1"/>
                </a:solidFill>
              </a:defRPr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lt1"/>
              </a:buClr>
              <a:buSzPts val="1000"/>
              <a:buChar char="−"/>
              <a:defRPr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91" name="Google Shape;91;p12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92" name="Google Shape;92;p12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93" name="Google Shape;93;p12"/>
          <p:cNvPicPr preferRelativeResize="0"/>
          <p:nvPr/>
        </p:nvPicPr>
        <p:blipFill rotWithShape="1">
          <a:blip r:embed="rId8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  <p:pic>
        <p:nvPicPr>
          <p:cNvPr id="94" name="Google Shape;94;p12"/>
          <p:cNvPicPr preferRelativeResize="0"/>
          <p:nvPr/>
        </p:nvPicPr>
        <p:blipFill rotWithShape="1">
          <a:blip r:embed="rId7">
            <a:alphaModFix/>
          </a:blip>
          <a:srcRect b="0" l="0" r="0" t="0"/>
          <a:stretch/>
        </p:blipFill>
        <p:spPr>
          <a:xfrm>
            <a:off x="407988" y="669600"/>
            <a:ext cx="432000" cy="19748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2706">
          <p15:clr>
            <a:srgbClr val="F26B43"/>
          </p15:clr>
        </p15:guide>
        <p15:guide id="2" pos="3024">
          <p15:clr>
            <a:srgbClr val="F26B43"/>
          </p15:clr>
        </p15:guide>
        <p15:guide id="3" pos="5065">
          <p15:clr>
            <a:srgbClr val="F26B43"/>
          </p15:clr>
        </p15:guide>
        <p15:guide id="4" pos="5382">
          <p15:clr>
            <a:srgbClr val="F26B43"/>
          </p15:clr>
        </p15:guide>
        <p15:guide id="5" pos="7423">
          <p15:clr>
            <a:srgbClr val="F26B43"/>
          </p15:clr>
        </p15:guide>
        <p15:guide id="6" pos="665">
          <p15:clr>
            <a:srgbClr val="F26B43"/>
          </p15:clr>
        </p15:guide>
        <p15:guide id="7" pos="257">
          <p15:clr>
            <a:srgbClr val="A4A3A4"/>
          </p15:clr>
        </p15:guide>
        <p15:guide id="8" orient="horz" pos="1117">
          <p15:clr>
            <a:srgbClr val="F26B43"/>
          </p15:clr>
        </p15:guide>
        <p15:guide id="9" orient="horz" pos="3883">
          <p15:clr>
            <a:srgbClr val="F26B43"/>
          </p15:clr>
        </p15:guide>
        <p15:guide id="10" orient="horz" pos="323">
          <p15:clr>
            <a:srgbClr val="F26B43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leslide" showMasterSp="0">
  <p:cSld name="Titleslide">
    <p:spTree>
      <p:nvGrpSpPr>
        <p:cNvPr id="475" name="Shape 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6" name="Google Shape;476;g3a84205419e_2_50"/>
          <p:cNvSpPr txBox="1"/>
          <p:nvPr>
            <p:ph type="title"/>
          </p:nvPr>
        </p:nvSpPr>
        <p:spPr>
          <a:xfrm>
            <a:off x="768001" y="1269000"/>
            <a:ext cx="8280750" cy="1800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200"/>
              <a:buFont typeface="Fira Sans Condensed"/>
              <a:buNone/>
              <a:defRPr sz="5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477" name="Google Shape;477;g3a84205419e_2_50"/>
          <p:cNvSpPr txBox="1"/>
          <p:nvPr>
            <p:ph idx="1" type="subTitle"/>
          </p:nvPr>
        </p:nvSpPr>
        <p:spPr>
          <a:xfrm>
            <a:off x="768001" y="3213000"/>
            <a:ext cx="8280749" cy="1872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9pPr>
          </a:lstStyle>
          <a:p/>
        </p:txBody>
      </p:sp>
      <p:sp>
        <p:nvSpPr>
          <p:cNvPr id="478" name="Google Shape;478;g3a84205419e_2_50"/>
          <p:cNvSpPr txBox="1"/>
          <p:nvPr>
            <p:ph idx="2" type="body"/>
          </p:nvPr>
        </p:nvSpPr>
        <p:spPr>
          <a:xfrm>
            <a:off x="768349" y="6381100"/>
            <a:ext cx="8280401" cy="216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pic>
        <p:nvPicPr>
          <p:cNvPr id="479" name="Google Shape;479;g3a84205419e_2_50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4080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480" name="Google Shape;480;g3a84205419e_2_50"/>
          <p:cNvSpPr txBox="1"/>
          <p:nvPr>
            <p:ph idx="3" type="body"/>
          </p:nvPr>
        </p:nvSpPr>
        <p:spPr>
          <a:xfrm>
            <a:off x="10920000" y="5445000"/>
            <a:ext cx="720000" cy="7200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pic>
        <p:nvPicPr>
          <p:cNvPr id="481" name="Google Shape;481;g3a84205419e_2_50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9912967" y="509517"/>
            <a:ext cx="1727034" cy="53685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7332">
          <p15:clr>
            <a:srgbClr val="FBAE40"/>
          </p15:clr>
        </p15:guide>
        <p15:guide id="2" pos="484">
          <p15:clr>
            <a:srgbClr val="FBAE40"/>
          </p15:clr>
        </p15:guide>
        <p15:guide id="3" orient="horz" pos="2024">
          <p15:clr>
            <a:srgbClr val="FBAE40"/>
          </p15:clr>
        </p15:guide>
        <p15:guide id="4" orient="horz" pos="193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le Only WHITE">
  <p:cSld name="Title Only WHITE">
    <p:spTree>
      <p:nvGrpSpPr>
        <p:cNvPr id="482" name="Shape 4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3" name="Google Shape;483;g3a84205419e_2_57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484" name="Google Shape;484;g3a84205419e_2_57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485" name="Google Shape;485;g3a84205419e_2_57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486" name="Google Shape;486;g3a84205419e_2_57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323">
          <p15:clr>
            <a:srgbClr val="F26B43"/>
          </p15:clr>
        </p15:guide>
        <p15:guide id="2" pos="665">
          <p15:clr>
            <a:srgbClr val="F26B43"/>
          </p15:clr>
        </p15:guide>
        <p15:guide id="3" pos="257">
          <p15:clr>
            <a:srgbClr val="A4A3A4"/>
          </p15:clr>
        </p15:guide>
        <p15:guide id="4" pos="7423">
          <p15:clr>
            <a:srgbClr val="F26B43"/>
          </p15:clr>
        </p15:guide>
        <p15:guide id="5" orient="horz" pos="1117">
          <p15:clr>
            <a:srgbClr val="F26B43"/>
          </p15:clr>
        </p15:guide>
        <p15:guide id="6" orient="horz" pos="3883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le Only DARK">
  <p:cSld name="Title Only DARK">
    <p:spTree>
      <p:nvGrpSpPr>
        <p:cNvPr id="487" name="Shape 4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8" name="Google Shape;488;g3a84205419e_2_62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89" name="Google Shape;489;g3a84205419e_2_62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61559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490" name="Google Shape;490;g3a84205419e_2_62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491" name="Google Shape;491;g3a84205419e_2_62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492" name="Google Shape;492;g3a84205419e_2_62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493" name="Google Shape;493;g3a84205419e_2_62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494" name="Google Shape;494;g3a84205419e_2_62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  <p:pic>
        <p:nvPicPr>
          <p:cNvPr id="495" name="Google Shape;495;g3a84205419e_2_62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407988" y="669600"/>
            <a:ext cx="432000" cy="19748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7423">
          <p15:clr>
            <a:srgbClr val="F26B43"/>
          </p15:clr>
        </p15:guide>
        <p15:guide id="2" pos="665">
          <p15:clr>
            <a:srgbClr val="F26B43"/>
          </p15:clr>
        </p15:guide>
        <p15:guide id="3" pos="257">
          <p15:clr>
            <a:srgbClr val="A4A3A4"/>
          </p15:clr>
        </p15:guide>
        <p15:guide id="4" orient="horz" pos="1117">
          <p15:clr>
            <a:srgbClr val="F26B43"/>
          </p15:clr>
        </p15:guide>
        <p15:guide id="5" orient="horz" pos="3883">
          <p15:clr>
            <a:srgbClr val="F26B43"/>
          </p15:clr>
        </p15:guide>
        <p15:guide id="6" orient="horz" pos="323">
          <p15:clr>
            <a:srgbClr val="F26B43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Blank DARK">
  <p:cSld name="Blank DARK">
    <p:spTree>
      <p:nvGrpSpPr>
        <p:cNvPr id="496" name="Shape 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7" name="Google Shape;497;g3a84205419e_2_71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98" name="Google Shape;498;g3a84205419e_2_71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61559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499" name="Google Shape;499;g3a84205419e_2_71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500" name="Google Shape;500;g3a84205419e_2_71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501" name="Google Shape;501;g3a84205419e_2_71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502" name="Google Shape;502;g3a84205419e_2_71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  <p:pic>
        <p:nvPicPr>
          <p:cNvPr id="503" name="Google Shape;503;g3a84205419e_2_71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407988" y="669600"/>
            <a:ext cx="432000" cy="19748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pos="257">
          <p15:clr>
            <a:srgbClr val="A4A3A4"/>
          </p15:clr>
        </p15:guide>
        <p15:guide id="3" pos="665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3883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Blank WHITE">
  <p:cSld name="Blank WHITE">
    <p:spTree>
      <p:nvGrpSpPr>
        <p:cNvPr id="504" name="Shape 5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5" name="Google Shape;505;g3a84205419e_2_79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/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/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/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/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/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/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/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/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/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506" name="Google Shape;506;g3a84205419e_2_79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507" name="Google Shape;507;g3a84205419e_2_79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pos="665">
          <p15:clr>
            <a:srgbClr val="F26B43"/>
          </p15:clr>
        </p15:guide>
        <p15:guide id="3" orient="horz" pos="3883">
          <p15:clr>
            <a:srgbClr val="F26B43"/>
          </p15:clr>
        </p15:guide>
        <p15:guide id="4" pos="7423">
          <p15:clr>
            <a:srgbClr val="F26B43"/>
          </p15:clr>
        </p15:guide>
        <p15:guide id="5" pos="257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Agenda">
  <p:cSld name="Agenda">
    <p:spTree>
      <p:nvGrpSpPr>
        <p:cNvPr id="508" name="Shape 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9" name="Google Shape;509;g3a84205419e_2_83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510" name="Google Shape;510;g3a84205419e_2_83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511" name="Google Shape;511;g3a84205419e_2_83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512" name="Google Shape;512;g3a84205419e_2_83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513" name="Google Shape;513;g3a84205419e_2_83"/>
          <p:cNvSpPr txBox="1"/>
          <p:nvPr>
            <p:ph idx="1" type="body"/>
          </p:nvPr>
        </p:nvSpPr>
        <p:spPr>
          <a:xfrm>
            <a:off x="1055688" y="1773238"/>
            <a:ext cx="10728000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42900" lvl="0" marL="457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Font typeface="Fira Sans Condensed"/>
              <a:buAutoNum type="arabicPeriod"/>
              <a:defRPr b="1" sz="1800">
                <a:solidFill>
                  <a:schemeClr val="dk2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Font typeface="Fira Sans Condensed"/>
              <a:buNone/>
              <a:defRPr b="1" sz="16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Char char="&gt;"/>
              <a:defRPr b="0" sz="1400">
                <a:solidFill>
                  <a:schemeClr val="dk1"/>
                </a:solidFill>
              </a:defRPr>
            </a:lvl4pPr>
            <a:lvl5pPr indent="-317500" lvl="4" marL="22860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5pPr>
            <a:lvl6pPr indent="-3175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6pPr>
            <a:lvl7pPr indent="-3175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7pPr>
            <a:lvl8pPr indent="-3175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8pPr>
            <a:lvl9pPr indent="-3175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pos="665">
          <p15:clr>
            <a:srgbClr val="F26B43"/>
          </p15:clr>
        </p15:guide>
        <p15:guide id="3" orient="horz" pos="3883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323">
          <p15:clr>
            <a:srgbClr val="F26B43"/>
          </p15:clr>
        </p15:guide>
        <p15:guide id="6" pos="257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le and Content WHITE">
  <p:cSld name="Title and Content WHITE">
    <p:spTree>
      <p:nvGrpSpPr>
        <p:cNvPr id="514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5" name="Google Shape;515;g3a84205419e_2_89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516" name="Google Shape;516;g3a84205419e_2_89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517" name="Google Shape;517;g3a84205419e_2_89"/>
          <p:cNvSpPr txBox="1"/>
          <p:nvPr>
            <p:ph idx="1" type="body"/>
          </p:nvPr>
        </p:nvSpPr>
        <p:spPr>
          <a:xfrm>
            <a:off x="1055999" y="1772999"/>
            <a:ext cx="10728013" cy="4391263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429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1pPr>
            <a:lvl2pPr indent="-3429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2pPr>
            <a:lvl3pPr indent="-3429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/>
            </a:lvl6pPr>
            <a:lvl7pPr indent="-3429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7pPr>
            <a:lvl8pPr indent="-3429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8pPr>
            <a:lvl9pPr indent="-3429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800"/>
              <a:buChar char="−"/>
              <a:defRPr/>
            </a:lvl9pPr>
          </a:lstStyle>
          <a:p/>
        </p:txBody>
      </p:sp>
      <p:sp>
        <p:nvSpPr>
          <p:cNvPr id="518" name="Google Shape;518;g3a84205419e_2_89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519" name="Google Shape;519;g3a84205419e_2_89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520" name="Google Shape;520;g3a84205419e_2_89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pos="665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23">
          <p15:clr>
            <a:srgbClr val="F26B43"/>
          </p15:clr>
        </p15:guide>
        <p15:guide id="5" orient="horz" pos="3883">
          <p15:clr>
            <a:srgbClr val="F26B43"/>
          </p15:clr>
        </p15:guide>
        <p15:guide id="6" pos="257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Picture and Text DARK">
  <p:cSld name="Picture and Text DARK">
    <p:spTree>
      <p:nvGrpSpPr>
        <p:cNvPr id="521" name="Shape 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" name="Google Shape;522;g3a84205419e_2_96"/>
          <p:cNvSpPr/>
          <p:nvPr/>
        </p:nvSpPr>
        <p:spPr>
          <a:xfrm>
            <a:off x="0" y="0"/>
            <a:ext cx="1872000" cy="981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Fira Sans"/>
              <a:buNone/>
            </a:pPr>
            <a:r>
              <a:t/>
            </a:r>
            <a:endParaRPr b="0" sz="1600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523" name="Google Shape;523;g3a84205419e_2_96"/>
          <p:cNvSpPr/>
          <p:nvPr>
            <p:ph idx="2" type="pic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</p:sp>
      <p:sp>
        <p:nvSpPr>
          <p:cNvPr id="524" name="Google Shape;524;g3a84205419e_2_96"/>
          <p:cNvSpPr txBox="1"/>
          <p:nvPr>
            <p:ph idx="1" type="body"/>
          </p:nvPr>
        </p:nvSpPr>
        <p:spPr>
          <a:xfrm>
            <a:off x="0" y="3717000"/>
            <a:ext cx="12192000" cy="3141001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2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None/>
              <a:defRPr/>
            </a:lvl1pPr>
            <a:lvl2pPr indent="-3429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2pPr>
            <a:lvl3pPr indent="-3429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/>
            </a:lvl6pPr>
            <a:lvl7pPr indent="-3429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7pPr>
            <a:lvl8pPr indent="-3429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8pPr>
            <a:lvl9pPr indent="-3429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800"/>
              <a:buChar char="−"/>
              <a:defRPr/>
            </a:lvl9pPr>
          </a:lstStyle>
          <a:p/>
        </p:txBody>
      </p:sp>
      <p:sp>
        <p:nvSpPr>
          <p:cNvPr id="525" name="Google Shape;525;g3a84205419e_2_96"/>
          <p:cNvSpPr txBox="1"/>
          <p:nvPr>
            <p:ph idx="3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526" name="Google Shape;526;g3a84205419e_2_96"/>
          <p:cNvSpPr txBox="1"/>
          <p:nvPr>
            <p:ph idx="4" type="body"/>
          </p:nvPr>
        </p:nvSpPr>
        <p:spPr>
          <a:xfrm>
            <a:off x="407988" y="669600"/>
            <a:ext cx="432000" cy="1944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527" name="Google Shape;527;g3a84205419e_2_96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528" name="Google Shape;528;g3a84205419e_2_96"/>
          <p:cNvSpPr txBox="1"/>
          <p:nvPr>
            <p:ph idx="5" type="body"/>
          </p:nvPr>
        </p:nvSpPr>
        <p:spPr>
          <a:xfrm>
            <a:off x="1055650" y="1773975"/>
            <a:ext cx="7920000" cy="4391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-228600" lvl="0" marL="4572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b="1" sz="2400">
                <a:solidFill>
                  <a:schemeClr val="lt1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lt1"/>
                </a:solidFill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529" name="Google Shape;529;g3a84205419e_2_96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530" name="Google Shape;530;g3a84205419e_2_96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531" name="Google Shape;531;g3a84205419e_2_96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532" name="Google Shape;532;g3a84205419e_2_96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5654">
          <p15:clr>
            <a:srgbClr val="F26B43"/>
          </p15:clr>
        </p15:guide>
        <p15:guide id="2" pos="665">
          <p15:clr>
            <a:srgbClr val="F26B43"/>
          </p15:clr>
        </p15:guide>
        <p15:guide id="3" pos="257">
          <p15:clr>
            <a:srgbClr val="A4A3A4"/>
          </p15:clr>
        </p15:guide>
        <p15:guide id="4" pos="7423">
          <p15:clr>
            <a:srgbClr val="A4A3A4"/>
          </p15:clr>
        </p15:guide>
        <p15:guide id="5" orient="horz" pos="1117">
          <p15:clr>
            <a:srgbClr val="F26B43"/>
          </p15:clr>
        </p15:guide>
        <p15:guide id="6" orient="horz" pos="3883">
          <p15:clr>
            <a:srgbClr val="F26B43"/>
          </p15:clr>
        </p15:guide>
        <p15:guide id="7" orient="horz" pos="323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leslide Picture DARK" showMasterSp="0">
  <p:cSld name="Titleslide Picture DARK">
    <p:spTree>
      <p:nvGrpSpPr>
        <p:cNvPr id="533" name="Shape 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4" name="Google Shape;534;g3a84205419e_2_108"/>
          <p:cNvSpPr/>
          <p:nvPr>
            <p:ph idx="2" type="pic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</p:sp>
      <p:sp>
        <p:nvSpPr>
          <p:cNvPr id="535" name="Google Shape;535;g3a84205419e_2_108"/>
          <p:cNvSpPr txBox="1"/>
          <p:nvPr>
            <p:ph idx="1" type="body"/>
          </p:nvPr>
        </p:nvSpPr>
        <p:spPr>
          <a:xfrm>
            <a:off x="0" y="3717000"/>
            <a:ext cx="12192000" cy="3141001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2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None/>
              <a:defRPr/>
            </a:lvl1pPr>
            <a:lvl2pPr indent="-3429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2pPr>
            <a:lvl3pPr indent="-3429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/>
            </a:lvl6pPr>
            <a:lvl7pPr indent="-3429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7pPr>
            <a:lvl8pPr indent="-3429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8pPr>
            <a:lvl9pPr indent="-3429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800"/>
              <a:buChar char="−"/>
              <a:defRPr/>
            </a:lvl9pPr>
          </a:lstStyle>
          <a:p/>
        </p:txBody>
      </p:sp>
      <p:sp>
        <p:nvSpPr>
          <p:cNvPr id="536" name="Google Shape;536;g3a84205419e_2_108"/>
          <p:cNvSpPr txBox="1"/>
          <p:nvPr>
            <p:ph type="title"/>
          </p:nvPr>
        </p:nvSpPr>
        <p:spPr>
          <a:xfrm>
            <a:off x="768001" y="1269000"/>
            <a:ext cx="8280750" cy="1800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Font typeface="Fira Sans Condensed"/>
              <a:buNone/>
              <a:defRPr sz="52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537" name="Google Shape;537;g3a84205419e_2_108"/>
          <p:cNvSpPr txBox="1"/>
          <p:nvPr>
            <p:ph idx="3" type="subTitle"/>
          </p:nvPr>
        </p:nvSpPr>
        <p:spPr>
          <a:xfrm>
            <a:off x="768001" y="3213000"/>
            <a:ext cx="8280749" cy="1872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9pPr>
          </a:lstStyle>
          <a:p/>
        </p:txBody>
      </p:sp>
      <p:sp>
        <p:nvSpPr>
          <p:cNvPr id="538" name="Google Shape;538;g3a84205419e_2_108"/>
          <p:cNvSpPr txBox="1"/>
          <p:nvPr>
            <p:ph idx="4" type="body"/>
          </p:nvPr>
        </p:nvSpPr>
        <p:spPr>
          <a:xfrm>
            <a:off x="768349" y="6381100"/>
            <a:ext cx="8280401" cy="216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539" name="Google Shape;539;g3a84205419e_2_108"/>
          <p:cNvSpPr txBox="1"/>
          <p:nvPr>
            <p:ph idx="5" type="body"/>
          </p:nvPr>
        </p:nvSpPr>
        <p:spPr>
          <a:xfrm>
            <a:off x="10920000" y="5445000"/>
            <a:ext cx="720000" cy="72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sp>
        <p:nvSpPr>
          <p:cNvPr id="540" name="Google Shape;540;g3a84205419e_2_108"/>
          <p:cNvSpPr txBox="1"/>
          <p:nvPr>
            <p:ph idx="6" type="body"/>
          </p:nvPr>
        </p:nvSpPr>
        <p:spPr>
          <a:xfrm>
            <a:off x="407988" y="6481979"/>
            <a:ext cx="215900" cy="972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pic>
        <p:nvPicPr>
          <p:cNvPr id="541" name="Google Shape;541;g3a84205419e_2_108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9912967" y="509517"/>
            <a:ext cx="1727034" cy="53685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7332">
          <p15:clr>
            <a:srgbClr val="FBAE40"/>
          </p15:clr>
        </p15:guide>
        <p15:guide id="2" pos="484">
          <p15:clr>
            <a:srgbClr val="FBAE40"/>
          </p15:clr>
        </p15:guide>
        <p15:guide id="3" orient="horz" pos="2024">
          <p15:clr>
            <a:srgbClr val="FBAE40"/>
          </p15:clr>
        </p15:guide>
        <p15:guide id="4" orient="horz" pos="1933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le and Content DARK">
  <p:cSld name="Title and Content DARK">
    <p:spTree>
      <p:nvGrpSpPr>
        <p:cNvPr id="542" name="Shape 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3" name="Google Shape;543;g3a84205419e_2_117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pic>
        <p:nvPicPr>
          <p:cNvPr id="544" name="Google Shape;544;g3a84205419e_2_117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45" name="Google Shape;545;g3a84205419e_2_117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407988" y="669600"/>
            <a:ext cx="432000" cy="197485"/>
          </a:xfrm>
          <a:prstGeom prst="rect">
            <a:avLst/>
          </a:prstGeom>
          <a:noFill/>
          <a:ln>
            <a:noFill/>
          </a:ln>
        </p:spPr>
      </p:pic>
      <p:pic>
        <p:nvPicPr>
          <p:cNvPr id="546" name="Google Shape;546;g3a84205419e_2_117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61559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547" name="Google Shape;547;g3a84205419e_2_117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548" name="Google Shape;548;g3a84205419e_2_117"/>
          <p:cNvSpPr txBox="1"/>
          <p:nvPr>
            <p:ph idx="1" type="body"/>
          </p:nvPr>
        </p:nvSpPr>
        <p:spPr>
          <a:xfrm>
            <a:off x="1056000" y="1772388"/>
            <a:ext cx="10728000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>
                <a:solidFill>
                  <a:schemeClr val="lt1"/>
                </a:solidFill>
              </a:defRPr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lt1"/>
              </a:buClr>
              <a:buSzPts val="1000"/>
              <a:buChar char="−"/>
              <a:defRPr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549" name="Google Shape;549;g3a84205419e_2_117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550" name="Google Shape;550;g3a84205419e_2_117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551" name="Google Shape;551;g3a84205419e_2_117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552" name="Google Shape;552;g3a84205419e_2_117"/>
          <p:cNvPicPr preferRelativeResize="0"/>
          <p:nvPr/>
        </p:nvPicPr>
        <p:blipFill rotWithShape="1">
          <a:blip r:embed="rId5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pos="665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23">
          <p15:clr>
            <a:srgbClr val="FBAE40"/>
          </p15:clr>
        </p15:guide>
        <p15:guide id="5" orient="horz" pos="3883">
          <p15:clr>
            <a:srgbClr val="F26B43"/>
          </p15:clr>
        </p15:guide>
        <p15:guide id="6" pos="257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le and Content DARK">
  <p:cSld name="Title and Content DARK">
    <p:spTree>
      <p:nvGrpSpPr>
        <p:cNvPr id="95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Google Shape;96;p13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3" imgH="1588" imgW="1588" progId="TCLayout.ActiveDocument.1" spid="_x0000_s1">
                  <p:embed/>
                </p:oleObj>
              </mc:Choice>
              <mc:Fallback>
                <p:oleObj r:id="rId4" imgH="1588" imgW="1588" progId="TCLayout.ActiveDocument.1">
                  <p:embed/>
                  <p:pic>
                    <p:nvPicPr>
                      <p:cNvPr id="96" name="Google Shape;96;p13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7" name="Google Shape;97;p13"/>
          <p:cNvPicPr preferRelativeResize="0"/>
          <p:nvPr/>
        </p:nvPicPr>
        <p:blipFill rotWithShape="1">
          <a:blip r:embed="rId6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8" name="Google Shape;98;p13"/>
          <p:cNvPicPr preferRelativeResize="0"/>
          <p:nvPr/>
        </p:nvPicPr>
        <p:blipFill rotWithShape="1">
          <a:blip r:embed="rId7">
            <a:alphaModFix/>
          </a:blip>
          <a:srcRect b="0" l="0" r="0" t="0"/>
          <a:stretch/>
        </p:blipFill>
        <p:spPr>
          <a:xfrm>
            <a:off x="407988" y="669600"/>
            <a:ext cx="432000" cy="197485"/>
          </a:xfrm>
          <a:prstGeom prst="rect">
            <a:avLst/>
          </a:prstGeom>
          <a:noFill/>
          <a:ln>
            <a:noFill/>
          </a:ln>
        </p:spPr>
      </p:pic>
      <p:pic>
        <p:nvPicPr>
          <p:cNvPr id="99" name="Google Shape;99;p13"/>
          <p:cNvPicPr preferRelativeResize="0"/>
          <p:nvPr/>
        </p:nvPicPr>
        <p:blipFill rotWithShape="1">
          <a:blip r:embed="rId7">
            <a:alphaModFix/>
          </a:blip>
          <a:srcRect b="0" l="0" r="0" t="0"/>
          <a:stretch/>
        </p:blipFill>
        <p:spPr>
          <a:xfrm>
            <a:off x="61559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100;p13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01" name="Google Shape;101;p13"/>
          <p:cNvSpPr txBox="1"/>
          <p:nvPr>
            <p:ph idx="1" type="body"/>
          </p:nvPr>
        </p:nvSpPr>
        <p:spPr>
          <a:xfrm>
            <a:off x="1056000" y="1772388"/>
            <a:ext cx="10728000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>
                <a:solidFill>
                  <a:schemeClr val="lt1"/>
                </a:solidFill>
              </a:defRPr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lt1"/>
              </a:buClr>
              <a:buSzPts val="1000"/>
              <a:buChar char="−"/>
              <a:defRPr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102" name="Google Shape;102;p13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i="0" sz="9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103" name="Google Shape;103;p13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104" name="Google Shape;104;p13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105" name="Google Shape;105;p13"/>
          <p:cNvPicPr preferRelativeResize="0"/>
          <p:nvPr/>
        </p:nvPicPr>
        <p:blipFill rotWithShape="1">
          <a:blip r:embed="rId8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pos="665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23">
          <p15:clr>
            <a:srgbClr val="FBAE40"/>
          </p15:clr>
        </p15:guide>
        <p15:guide id="5" orient="horz" pos="3883">
          <p15:clr>
            <a:srgbClr val="F26B43"/>
          </p15:clr>
        </p15:guide>
        <p15:guide id="6" pos="257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wo Content DARK">
  <p:cSld name="Two Content DARK">
    <p:spTree>
      <p:nvGrpSpPr>
        <p:cNvPr id="553" name="Shape 5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4" name="Google Shape;554;g3a84205419e_2_128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55" name="Google Shape;555;g3a84205419e_2_128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407988" y="669600"/>
            <a:ext cx="432000" cy="197485"/>
          </a:xfrm>
          <a:prstGeom prst="rect">
            <a:avLst/>
          </a:prstGeom>
          <a:noFill/>
          <a:ln>
            <a:noFill/>
          </a:ln>
        </p:spPr>
      </p:pic>
      <p:pic>
        <p:nvPicPr>
          <p:cNvPr id="556" name="Google Shape;556;g3a84205419e_2_128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61559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557" name="Google Shape;557;g3a84205419e_2_128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558" name="Google Shape;558;g3a84205419e_2_128"/>
          <p:cNvSpPr txBox="1"/>
          <p:nvPr>
            <p:ph idx="1" type="body"/>
          </p:nvPr>
        </p:nvSpPr>
        <p:spPr>
          <a:xfrm>
            <a:off x="1056000" y="1772388"/>
            <a:ext cx="5112000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>
                <a:solidFill>
                  <a:schemeClr val="lt1"/>
                </a:solidFill>
              </a:defRPr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lt1"/>
              </a:buClr>
              <a:buSzPts val="1000"/>
              <a:buChar char="−"/>
              <a:defRPr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559" name="Google Shape;559;g3a84205419e_2_128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560" name="Google Shape;560;g3a84205419e_2_128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561" name="Google Shape;561;g3a84205419e_2_128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562" name="Google Shape;562;g3a84205419e_2_128"/>
          <p:cNvSpPr txBox="1"/>
          <p:nvPr>
            <p:ph idx="2" type="body"/>
          </p:nvPr>
        </p:nvSpPr>
        <p:spPr>
          <a:xfrm>
            <a:off x="6672632" y="1772692"/>
            <a:ext cx="5112000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>
                <a:solidFill>
                  <a:schemeClr val="lt1"/>
                </a:solidFill>
              </a:defRPr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lt1"/>
              </a:buClr>
              <a:buSzPts val="1000"/>
              <a:buChar char="−"/>
              <a:defRPr>
                <a:solidFill>
                  <a:schemeClr val="lt1"/>
                </a:solidFill>
              </a:defRPr>
            </a:lvl9pPr>
          </a:lstStyle>
          <a:p/>
        </p:txBody>
      </p:sp>
      <p:pic>
        <p:nvPicPr>
          <p:cNvPr id="563" name="Google Shape;563;g3a84205419e_2_128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3885">
          <p15:clr>
            <a:srgbClr val="F26B43"/>
          </p15:clr>
        </p15:guide>
        <p15:guide id="2" pos="4203">
          <p15:clr>
            <a:srgbClr val="F26B43"/>
          </p15:clr>
        </p15:guide>
        <p15:guide id="3" pos="7423">
          <p15:clr>
            <a:srgbClr val="F26B43"/>
          </p15:clr>
        </p15:guide>
        <p15:guide id="4" pos="665">
          <p15:clr>
            <a:srgbClr val="F26B43"/>
          </p15:clr>
        </p15:guide>
        <p15:guide id="5" orient="horz" pos="323">
          <p15:clr>
            <a:srgbClr val="F26B43"/>
          </p15:clr>
        </p15:guide>
        <p15:guide id="6" orient="horz" pos="1117">
          <p15:clr>
            <a:srgbClr val="F26B43"/>
          </p15:clr>
        </p15:guide>
        <p15:guide id="7" orient="horz" pos="3883">
          <p15:clr>
            <a:srgbClr val="F26B43"/>
          </p15:clr>
        </p15:guide>
        <p15:guide id="8" pos="257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Content with Picture WHITE">
  <p:cSld name="Content with Picture WHITE">
    <p:spTree>
      <p:nvGrpSpPr>
        <p:cNvPr id="564" name="Shape 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5" name="Google Shape;565;g3a84205419e_2_139"/>
          <p:cNvSpPr txBox="1"/>
          <p:nvPr>
            <p:ph type="title"/>
          </p:nvPr>
        </p:nvSpPr>
        <p:spPr>
          <a:xfrm>
            <a:off x="1055689" y="512676"/>
            <a:ext cx="511175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  <a:defRPr sz="34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566" name="Google Shape;566;g3a84205419e_2_139"/>
          <p:cNvSpPr txBox="1"/>
          <p:nvPr>
            <p:ph idx="1" type="body"/>
          </p:nvPr>
        </p:nvSpPr>
        <p:spPr>
          <a:xfrm>
            <a:off x="1056001" y="1772388"/>
            <a:ext cx="5111437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/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000"/>
              <a:buChar char="−"/>
              <a:defRPr/>
            </a:lvl9pPr>
          </a:lstStyle>
          <a:p/>
        </p:txBody>
      </p:sp>
      <p:sp>
        <p:nvSpPr>
          <p:cNvPr id="567" name="Google Shape;567;g3a84205419e_2_139"/>
          <p:cNvSpPr/>
          <p:nvPr>
            <p:ph idx="2" type="pic"/>
          </p:nvPr>
        </p:nvSpPr>
        <p:spPr>
          <a:xfrm>
            <a:off x="6672262" y="0"/>
            <a:ext cx="5519737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568" name="Google Shape;568;g3a84205419e_2_139"/>
          <p:cNvSpPr txBox="1"/>
          <p:nvPr>
            <p:ph idx="3" type="body"/>
          </p:nvPr>
        </p:nvSpPr>
        <p:spPr>
          <a:xfrm>
            <a:off x="6672262" y="3717000"/>
            <a:ext cx="5519737" cy="31410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4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9pPr>
          </a:lstStyle>
          <a:p/>
        </p:txBody>
      </p:sp>
      <p:sp>
        <p:nvSpPr>
          <p:cNvPr id="569" name="Google Shape;569;g3a84205419e_2_139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570" name="Google Shape;570;g3a84205419e_2_139"/>
          <p:cNvSpPr txBox="1"/>
          <p:nvPr>
            <p:ph idx="11" type="ftr"/>
          </p:nvPr>
        </p:nvSpPr>
        <p:spPr>
          <a:xfrm>
            <a:off x="1055687" y="6453000"/>
            <a:ext cx="4752976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571" name="Google Shape;571;g3a84205419e_2_139"/>
          <p:cNvSpPr txBox="1"/>
          <p:nvPr>
            <p:ph idx="10" type="dt"/>
          </p:nvPr>
        </p:nvSpPr>
        <p:spPr>
          <a:xfrm>
            <a:off x="6888000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4203">
          <p15:clr>
            <a:srgbClr val="F26B43"/>
          </p15:clr>
        </p15:guide>
        <p15:guide id="2" pos="3885">
          <p15:clr>
            <a:srgbClr val="F26B43"/>
          </p15:clr>
        </p15:guide>
        <p15:guide id="3" pos="665">
          <p15:clr>
            <a:srgbClr val="F26B43"/>
          </p15:clr>
        </p15:guide>
        <p15:guide id="4" pos="257">
          <p15:clr>
            <a:srgbClr val="A4A3A4"/>
          </p15:clr>
        </p15:guide>
        <p15:guide id="5" orient="horz" pos="323">
          <p15:clr>
            <a:srgbClr val="F26B43"/>
          </p15:clr>
        </p15:guide>
        <p15:guide id="6" orient="horz" pos="1117">
          <p15:clr>
            <a:srgbClr val="F26B43"/>
          </p15:clr>
        </p15:guide>
        <p15:guide id="7" orient="horz" pos="3883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Claim and Picture DARK">
  <p:cSld name="Claim and Picture DARK">
    <p:spTree>
      <p:nvGrpSpPr>
        <p:cNvPr id="572" name="Shape 5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" name="Google Shape;573;g3a84205419e_2_147"/>
          <p:cNvSpPr/>
          <p:nvPr>
            <p:ph idx="2" type="pic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</p:sp>
      <p:sp>
        <p:nvSpPr>
          <p:cNvPr id="574" name="Google Shape;574;g3a84205419e_2_147"/>
          <p:cNvSpPr txBox="1"/>
          <p:nvPr>
            <p:ph idx="1" type="body"/>
          </p:nvPr>
        </p:nvSpPr>
        <p:spPr>
          <a:xfrm>
            <a:off x="0" y="3717000"/>
            <a:ext cx="12192000" cy="3141001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2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None/>
              <a:defRPr/>
            </a:lvl1pPr>
            <a:lvl2pPr indent="-3429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2pPr>
            <a:lvl3pPr indent="-3429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/>
            </a:lvl6pPr>
            <a:lvl7pPr indent="-3429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7pPr>
            <a:lvl8pPr indent="-3429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8pPr>
            <a:lvl9pPr indent="-3429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800"/>
              <a:buChar char="−"/>
              <a:defRPr/>
            </a:lvl9pPr>
          </a:lstStyle>
          <a:p/>
        </p:txBody>
      </p:sp>
      <p:sp>
        <p:nvSpPr>
          <p:cNvPr id="575" name="Google Shape;575;g3a84205419e_2_147"/>
          <p:cNvSpPr txBox="1"/>
          <p:nvPr>
            <p:ph idx="3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576" name="Google Shape;576;g3a84205419e_2_147"/>
          <p:cNvSpPr txBox="1"/>
          <p:nvPr>
            <p:ph idx="4" type="body"/>
          </p:nvPr>
        </p:nvSpPr>
        <p:spPr>
          <a:xfrm>
            <a:off x="407988" y="669600"/>
            <a:ext cx="432000" cy="1944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577" name="Google Shape;577;g3a84205419e_2_147"/>
          <p:cNvSpPr txBox="1"/>
          <p:nvPr>
            <p:ph idx="5" type="body"/>
          </p:nvPr>
        </p:nvSpPr>
        <p:spPr>
          <a:xfrm>
            <a:off x="408000" y="621000"/>
            <a:ext cx="11376012" cy="554485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-228600" lvl="0" marL="4572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5000"/>
              <a:buFont typeface="Fira Sans"/>
              <a:buNone/>
              <a:defRPr b="1" sz="5000">
                <a:solidFill>
                  <a:schemeClr val="lt1"/>
                </a:solidFill>
              </a:defRPr>
            </a:lvl1pPr>
            <a:lvl2pPr indent="-228600" lvl="1" marL="9144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lt1"/>
                </a:solidFill>
              </a:defRPr>
            </a:lvl2pPr>
            <a:lvl3pPr indent="-228600" lvl="2" marL="13716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lt1"/>
                </a:solidFill>
              </a:defRPr>
            </a:lvl3pPr>
            <a:lvl4pPr indent="-228600" lvl="3" marL="18288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lt1"/>
                </a:solidFill>
              </a:defRPr>
            </a:lvl4pPr>
            <a:lvl5pPr indent="-228600" lvl="4" marL="22860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Fira Sans"/>
              <a:buNone/>
              <a:defRPr sz="44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lt1"/>
                </a:solidFill>
              </a:defRPr>
            </a:lvl6pPr>
            <a:lvl7pPr indent="-228600" lvl="6" marL="32004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lt1"/>
                </a:solidFill>
              </a:defRPr>
            </a:lvl7pPr>
            <a:lvl8pPr indent="-228600" lvl="7" marL="36576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lt1"/>
                </a:solidFill>
              </a:defRPr>
            </a:lvl8pPr>
            <a:lvl9pPr indent="-228600" lvl="8" marL="41148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578" name="Google Shape;578;g3a84205419e_2_147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579" name="Google Shape;579;g3a84205419e_2_147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580" name="Google Shape;580;g3a84205419e_2_147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581" name="Google Shape;581;g3a84205419e_2_147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orient="horz" pos="3883">
          <p15:clr>
            <a:srgbClr val="F26B43"/>
          </p15:clr>
        </p15:guide>
        <p15:guide id="3" pos="257">
          <p15:clr>
            <a:srgbClr val="F26B43"/>
          </p15:clr>
        </p15:guide>
        <p15:guide id="4" pos="7423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leslide Picture BRIGHT" showMasterSp="0">
  <p:cSld name="Titleslide Picture BRIGHT">
    <p:spTree>
      <p:nvGrpSpPr>
        <p:cNvPr id="582" name="Shape 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" name="Google Shape;583;g3a84205419e_2_157"/>
          <p:cNvSpPr/>
          <p:nvPr>
            <p:ph idx="2" type="pic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584" name="Google Shape;584;g3a84205419e_2_157"/>
          <p:cNvSpPr txBox="1"/>
          <p:nvPr>
            <p:ph idx="1" type="body"/>
          </p:nvPr>
        </p:nvSpPr>
        <p:spPr>
          <a:xfrm>
            <a:off x="0" y="3717000"/>
            <a:ext cx="12192000" cy="31410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4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9pPr>
          </a:lstStyle>
          <a:p/>
        </p:txBody>
      </p:sp>
      <p:sp>
        <p:nvSpPr>
          <p:cNvPr id="585" name="Google Shape;585;g3a84205419e_2_157"/>
          <p:cNvSpPr txBox="1"/>
          <p:nvPr>
            <p:ph type="title"/>
          </p:nvPr>
        </p:nvSpPr>
        <p:spPr>
          <a:xfrm>
            <a:off x="768001" y="1269000"/>
            <a:ext cx="8280750" cy="1800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200"/>
              <a:buFont typeface="Fira Sans Condensed"/>
              <a:buNone/>
              <a:defRPr sz="5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586" name="Google Shape;586;g3a84205419e_2_157"/>
          <p:cNvSpPr txBox="1"/>
          <p:nvPr>
            <p:ph idx="3" type="subTitle"/>
          </p:nvPr>
        </p:nvSpPr>
        <p:spPr>
          <a:xfrm>
            <a:off x="768001" y="3213000"/>
            <a:ext cx="8280749" cy="1872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9pPr>
          </a:lstStyle>
          <a:p/>
        </p:txBody>
      </p:sp>
      <p:sp>
        <p:nvSpPr>
          <p:cNvPr id="587" name="Google Shape;587;g3a84205419e_2_157"/>
          <p:cNvSpPr txBox="1"/>
          <p:nvPr>
            <p:ph idx="4" type="body"/>
          </p:nvPr>
        </p:nvSpPr>
        <p:spPr>
          <a:xfrm>
            <a:off x="768349" y="6381100"/>
            <a:ext cx="8280401" cy="216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588" name="Google Shape;588;g3a84205419e_2_157"/>
          <p:cNvSpPr txBox="1"/>
          <p:nvPr>
            <p:ph idx="5" type="body"/>
          </p:nvPr>
        </p:nvSpPr>
        <p:spPr>
          <a:xfrm>
            <a:off x="10920000" y="5445000"/>
            <a:ext cx="720000" cy="72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sp>
        <p:nvSpPr>
          <p:cNvPr id="589" name="Google Shape;589;g3a84205419e_2_157"/>
          <p:cNvSpPr txBox="1"/>
          <p:nvPr>
            <p:ph idx="6" type="body"/>
          </p:nvPr>
        </p:nvSpPr>
        <p:spPr>
          <a:xfrm>
            <a:off x="407988" y="6481979"/>
            <a:ext cx="215900" cy="972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pic>
        <p:nvPicPr>
          <p:cNvPr id="590" name="Google Shape;590;g3a84205419e_2_157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9912967" y="509517"/>
            <a:ext cx="1727034" cy="53685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7332">
          <p15:clr>
            <a:srgbClr val="FBAE40"/>
          </p15:clr>
        </p15:guide>
        <p15:guide id="2" pos="484">
          <p15:clr>
            <a:srgbClr val="FBAE40"/>
          </p15:clr>
        </p15:guide>
        <p15:guide id="3" orient="horz" pos="2024">
          <p15:clr>
            <a:srgbClr val="FBAE40"/>
          </p15:clr>
        </p15:guide>
        <p15:guide id="4" orient="horz" pos="1933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hree Content DARK">
  <p:cSld name="Three Content DARK">
    <p:spTree>
      <p:nvGrpSpPr>
        <p:cNvPr id="591" name="Shape 5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2" name="Google Shape;592;g3a84205419e_2_166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pic>
        <p:nvPicPr>
          <p:cNvPr id="593" name="Google Shape;593;g3a84205419e_2_166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94" name="Google Shape;594;g3a84205419e_2_166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61559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595" name="Google Shape;595;g3a84205419e_2_166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596" name="Google Shape;596;g3a84205419e_2_166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597" name="Google Shape;597;g3a84205419e_2_166"/>
          <p:cNvSpPr txBox="1"/>
          <p:nvPr>
            <p:ph idx="1" type="body"/>
          </p:nvPr>
        </p:nvSpPr>
        <p:spPr>
          <a:xfrm>
            <a:off x="1056025" y="1772816"/>
            <a:ext cx="3239775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>
                <a:solidFill>
                  <a:schemeClr val="lt1"/>
                </a:solidFill>
              </a:defRPr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lt1"/>
              </a:buClr>
              <a:buSzPts val="1000"/>
              <a:buChar char="−"/>
              <a:defRPr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598" name="Google Shape;598;g3a84205419e_2_166"/>
          <p:cNvSpPr txBox="1"/>
          <p:nvPr>
            <p:ph idx="2" type="body"/>
          </p:nvPr>
        </p:nvSpPr>
        <p:spPr>
          <a:xfrm>
            <a:off x="4799856" y="1772816"/>
            <a:ext cx="3239775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>
                <a:solidFill>
                  <a:schemeClr val="lt1"/>
                </a:solidFill>
              </a:defRPr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lt1"/>
              </a:buClr>
              <a:buSzPts val="1000"/>
              <a:buChar char="−"/>
              <a:defRPr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599" name="Google Shape;599;g3a84205419e_2_166"/>
          <p:cNvSpPr txBox="1"/>
          <p:nvPr>
            <p:ph idx="3" type="body"/>
          </p:nvPr>
        </p:nvSpPr>
        <p:spPr>
          <a:xfrm>
            <a:off x="8544272" y="1772388"/>
            <a:ext cx="3239775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>
                <a:solidFill>
                  <a:schemeClr val="lt1"/>
                </a:solidFill>
              </a:defRPr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lt1"/>
              </a:buClr>
              <a:buSzPts val="1000"/>
              <a:buChar char="−"/>
              <a:defRPr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600" name="Google Shape;600;g3a84205419e_2_166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601" name="Google Shape;601;g3a84205419e_2_166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602" name="Google Shape;602;g3a84205419e_2_166"/>
          <p:cNvPicPr preferRelativeResize="0"/>
          <p:nvPr/>
        </p:nvPicPr>
        <p:blipFill rotWithShape="1">
          <a:blip r:embed="rId5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  <p:pic>
        <p:nvPicPr>
          <p:cNvPr id="603" name="Google Shape;603;g3a84205419e_2_166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407988" y="669600"/>
            <a:ext cx="432000" cy="19748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2706">
          <p15:clr>
            <a:srgbClr val="F26B43"/>
          </p15:clr>
        </p15:guide>
        <p15:guide id="2" pos="3024">
          <p15:clr>
            <a:srgbClr val="F26B43"/>
          </p15:clr>
        </p15:guide>
        <p15:guide id="3" pos="5065">
          <p15:clr>
            <a:srgbClr val="F26B43"/>
          </p15:clr>
        </p15:guide>
        <p15:guide id="4" pos="5382">
          <p15:clr>
            <a:srgbClr val="F26B43"/>
          </p15:clr>
        </p15:guide>
        <p15:guide id="5" pos="7423">
          <p15:clr>
            <a:srgbClr val="F26B43"/>
          </p15:clr>
        </p15:guide>
        <p15:guide id="6" pos="665">
          <p15:clr>
            <a:srgbClr val="F26B43"/>
          </p15:clr>
        </p15:guide>
        <p15:guide id="7" pos="257">
          <p15:clr>
            <a:srgbClr val="A4A3A4"/>
          </p15:clr>
        </p15:guide>
        <p15:guide id="8" orient="horz" pos="1117">
          <p15:clr>
            <a:srgbClr val="F26B43"/>
          </p15:clr>
        </p15:guide>
        <p15:guide id="9" orient="horz" pos="3883">
          <p15:clr>
            <a:srgbClr val="F26B43"/>
          </p15:clr>
        </p15:guide>
        <p15:guide id="10" orient="horz" pos="323">
          <p15:clr>
            <a:srgbClr val="F26B43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hree Content WHITE">
  <p:cSld name="Three Content WHITE">
    <p:spTree>
      <p:nvGrpSpPr>
        <p:cNvPr id="604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5" name="Google Shape;605;g3a84205419e_2_179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606" name="Google Shape;606;g3a84205419e_2_179"/>
          <p:cNvSpPr txBox="1"/>
          <p:nvPr>
            <p:ph idx="1" type="body"/>
          </p:nvPr>
        </p:nvSpPr>
        <p:spPr>
          <a:xfrm>
            <a:off x="1056000" y="1772388"/>
            <a:ext cx="3240000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/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000"/>
              <a:buChar char="−"/>
              <a:defRPr/>
            </a:lvl9pPr>
          </a:lstStyle>
          <a:p/>
        </p:txBody>
      </p:sp>
      <p:sp>
        <p:nvSpPr>
          <p:cNvPr id="607" name="Google Shape;607;g3a84205419e_2_179"/>
          <p:cNvSpPr txBox="1"/>
          <p:nvPr>
            <p:ph idx="2" type="body"/>
          </p:nvPr>
        </p:nvSpPr>
        <p:spPr>
          <a:xfrm>
            <a:off x="4800000" y="1772388"/>
            <a:ext cx="3240000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/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000"/>
              <a:buChar char="−"/>
              <a:defRPr/>
            </a:lvl9pPr>
          </a:lstStyle>
          <a:p/>
        </p:txBody>
      </p:sp>
      <p:sp>
        <p:nvSpPr>
          <p:cNvPr id="608" name="Google Shape;608;g3a84205419e_2_179"/>
          <p:cNvSpPr txBox="1"/>
          <p:nvPr>
            <p:ph idx="3" type="body"/>
          </p:nvPr>
        </p:nvSpPr>
        <p:spPr>
          <a:xfrm>
            <a:off x="8543875" y="1772388"/>
            <a:ext cx="3240000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/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000"/>
              <a:buChar char="−"/>
              <a:defRPr/>
            </a:lvl9pPr>
          </a:lstStyle>
          <a:p/>
        </p:txBody>
      </p:sp>
      <p:sp>
        <p:nvSpPr>
          <p:cNvPr id="609" name="Google Shape;609;g3a84205419e_2_179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610" name="Google Shape;610;g3a84205419e_2_179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611" name="Google Shape;611;g3a84205419e_2_179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665">
          <p15:clr>
            <a:srgbClr val="F26B43"/>
          </p15:clr>
        </p15:guide>
        <p15:guide id="2" pos="3024">
          <p15:clr>
            <a:srgbClr val="F26B43"/>
          </p15:clr>
        </p15:guide>
        <p15:guide id="3" pos="5065">
          <p15:clr>
            <a:srgbClr val="F26B43"/>
          </p15:clr>
        </p15:guide>
        <p15:guide id="4" pos="5382">
          <p15:clr>
            <a:srgbClr val="F26B43"/>
          </p15:clr>
        </p15:guide>
        <p15:guide id="5" pos="257">
          <p15:clr>
            <a:srgbClr val="A4A3A4"/>
          </p15:clr>
        </p15:guide>
        <p15:guide id="6" pos="7423">
          <p15:clr>
            <a:srgbClr val="F26B43"/>
          </p15:clr>
        </p15:guide>
        <p15:guide id="7" orient="horz" pos="1117">
          <p15:clr>
            <a:srgbClr val="F26B43"/>
          </p15:clr>
        </p15:guide>
        <p15:guide id="8" orient="horz" pos="323">
          <p15:clr>
            <a:srgbClr val="F26B43"/>
          </p15:clr>
        </p15:guide>
        <p15:guide id="9" orient="horz" pos="3883">
          <p15:clr>
            <a:srgbClr val="F26B43"/>
          </p15:clr>
        </p15:guide>
        <p15:guide id="10" pos="2706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leslide GRADIENT" showMasterSp="0">
  <p:cSld name="Titleslide GRADIENT">
    <p:spTree>
      <p:nvGrpSpPr>
        <p:cNvPr id="612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3" name="Google Shape;613;g3a84205419e_2_187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14" name="Google Shape;614;g3a84205419e_2_187"/>
          <p:cNvSpPr txBox="1"/>
          <p:nvPr>
            <p:ph type="title"/>
          </p:nvPr>
        </p:nvSpPr>
        <p:spPr>
          <a:xfrm>
            <a:off x="768001" y="1269000"/>
            <a:ext cx="8280750" cy="1800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Font typeface="Fira Sans Condensed"/>
              <a:buNone/>
              <a:defRPr sz="52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615" name="Google Shape;615;g3a84205419e_2_187"/>
          <p:cNvSpPr txBox="1"/>
          <p:nvPr>
            <p:ph idx="1" type="subTitle"/>
          </p:nvPr>
        </p:nvSpPr>
        <p:spPr>
          <a:xfrm>
            <a:off x="768001" y="3213000"/>
            <a:ext cx="8280749" cy="1872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9pPr>
          </a:lstStyle>
          <a:p/>
        </p:txBody>
      </p:sp>
      <p:sp>
        <p:nvSpPr>
          <p:cNvPr id="616" name="Google Shape;616;g3a84205419e_2_187"/>
          <p:cNvSpPr txBox="1"/>
          <p:nvPr>
            <p:ph idx="2" type="body"/>
          </p:nvPr>
        </p:nvSpPr>
        <p:spPr>
          <a:xfrm>
            <a:off x="768349" y="6381100"/>
            <a:ext cx="8280401" cy="216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617" name="Google Shape;617;g3a84205419e_2_187"/>
          <p:cNvSpPr txBox="1"/>
          <p:nvPr>
            <p:ph idx="3" type="body"/>
          </p:nvPr>
        </p:nvSpPr>
        <p:spPr>
          <a:xfrm>
            <a:off x="407988" y="6481979"/>
            <a:ext cx="215900" cy="972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618" name="Google Shape;618;g3a84205419e_2_187"/>
          <p:cNvSpPr txBox="1"/>
          <p:nvPr>
            <p:ph idx="4" type="body"/>
          </p:nvPr>
        </p:nvSpPr>
        <p:spPr>
          <a:xfrm>
            <a:off x="10920000" y="5445000"/>
            <a:ext cx="72000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pic>
        <p:nvPicPr>
          <p:cNvPr id="619" name="Google Shape;619;g3a84205419e_2_187"/>
          <p:cNvPicPr preferRelativeResize="0"/>
          <p:nvPr/>
        </p:nvPicPr>
        <p:blipFill rotWithShape="1">
          <a:blip r:embed="rId5">
            <a:alphaModFix/>
          </a:blip>
          <a:srcRect b="0" l="0" r="0" t="0"/>
          <a:stretch/>
        </p:blipFill>
        <p:spPr>
          <a:xfrm>
            <a:off x="9912967" y="509517"/>
            <a:ext cx="1727034" cy="53685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7332">
          <p15:clr>
            <a:srgbClr val="FBAE40"/>
          </p15:clr>
        </p15:guide>
        <p15:guide id="2" pos="484">
          <p15:clr>
            <a:srgbClr val="FBAE40"/>
          </p15:clr>
        </p15:guide>
        <p15:guide id="3" orient="horz" pos="2024">
          <p15:clr>
            <a:srgbClr val="FBAE40"/>
          </p15:clr>
        </p15:guide>
        <p15:guide id="4" orient="horz" pos="1933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Section Header GRADIENT">
  <p:cSld name="Section Header GRADIENT">
    <p:spTree>
      <p:nvGrpSpPr>
        <p:cNvPr id="620" name="Shape 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1" name="Google Shape;621;g3a84205419e_2_195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22" name="Google Shape;622;g3a84205419e_2_195"/>
          <p:cNvSpPr txBox="1"/>
          <p:nvPr>
            <p:ph type="title"/>
          </p:nvPr>
        </p:nvSpPr>
        <p:spPr>
          <a:xfrm>
            <a:off x="1055688" y="1268900"/>
            <a:ext cx="8856662" cy="20881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Font typeface="Fira Sans Condensed"/>
              <a:buNone/>
              <a:defRPr sz="52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623" name="Google Shape;623;g3a84205419e_2_195"/>
          <p:cNvSpPr txBox="1"/>
          <p:nvPr>
            <p:ph idx="1" type="body"/>
          </p:nvPr>
        </p:nvSpPr>
        <p:spPr>
          <a:xfrm>
            <a:off x="1055688" y="3429000"/>
            <a:ext cx="8856662" cy="144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600"/>
              <a:buNone/>
              <a:defRPr b="0" sz="4600"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Font typeface="Fira Sans"/>
              <a:buNone/>
              <a:defRPr b="0" sz="4600">
                <a:solidFill>
                  <a:schemeClr val="lt1"/>
                </a:solidFill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624" name="Google Shape;624;g3a84205419e_2_195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625" name="Google Shape;625;g3a84205419e_2_195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626" name="Google Shape;626;g3a84205419e_2_195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627" name="Google Shape;627;g3a84205419e_2_195"/>
          <p:cNvSpPr txBox="1"/>
          <p:nvPr>
            <p:ph idx="2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628" name="Google Shape;628;g3a84205419e_2_195"/>
          <p:cNvSpPr txBox="1"/>
          <p:nvPr>
            <p:ph idx="3" type="body"/>
          </p:nvPr>
        </p:nvSpPr>
        <p:spPr>
          <a:xfrm>
            <a:off x="10632000" y="4761000"/>
            <a:ext cx="756000" cy="756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pic>
        <p:nvPicPr>
          <p:cNvPr id="629" name="Google Shape;629;g3a84205419e_2_195"/>
          <p:cNvPicPr preferRelativeResize="0"/>
          <p:nvPr/>
        </p:nvPicPr>
        <p:blipFill rotWithShape="1">
          <a:blip r:embed="rId5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6244">
          <p15:clr>
            <a:srgbClr val="F26B43"/>
          </p15:clr>
        </p15:guide>
        <p15:guide id="2" orient="horz" pos="2115">
          <p15:clr>
            <a:srgbClr val="F26B43"/>
          </p15:clr>
        </p15:guide>
        <p15:guide id="3" orient="horz" pos="2160">
          <p15:clr>
            <a:srgbClr val="F26B43"/>
          </p15:clr>
        </p15:guide>
        <p15:guide id="4" pos="665">
          <p15:clr>
            <a:srgbClr val="F26B43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Claim DARK">
  <p:cSld name="Claim DARK">
    <p:spTree>
      <p:nvGrpSpPr>
        <p:cNvPr id="630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1" name="Google Shape;631;g3a84205419e_2_205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32" name="Google Shape;632;g3a84205419e_2_205"/>
          <p:cNvSpPr txBox="1"/>
          <p:nvPr>
            <p:ph idx="1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633" name="Google Shape;633;g3a84205419e_2_205"/>
          <p:cNvSpPr txBox="1"/>
          <p:nvPr>
            <p:ph idx="2" type="body"/>
          </p:nvPr>
        </p:nvSpPr>
        <p:spPr>
          <a:xfrm>
            <a:off x="407988" y="669600"/>
            <a:ext cx="432000" cy="1944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634" name="Google Shape;634;g3a84205419e_2_205"/>
          <p:cNvSpPr txBox="1"/>
          <p:nvPr>
            <p:ph idx="3" type="body"/>
          </p:nvPr>
        </p:nvSpPr>
        <p:spPr>
          <a:xfrm>
            <a:off x="408000" y="621000"/>
            <a:ext cx="11376012" cy="554485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-228600" lvl="0" marL="4572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5000"/>
              <a:buFont typeface="Fira Sans"/>
              <a:buNone/>
              <a:defRPr b="1" sz="5000">
                <a:solidFill>
                  <a:schemeClr val="lt1"/>
                </a:solidFill>
              </a:defRPr>
            </a:lvl1pPr>
            <a:lvl2pPr indent="-228600" lvl="1" marL="9144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lt1"/>
                </a:solidFill>
              </a:defRPr>
            </a:lvl2pPr>
            <a:lvl3pPr indent="-228600" lvl="2" marL="13716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lt1"/>
                </a:solidFill>
              </a:defRPr>
            </a:lvl3pPr>
            <a:lvl4pPr indent="-228600" lvl="3" marL="18288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lt1"/>
                </a:solidFill>
              </a:defRPr>
            </a:lvl4pPr>
            <a:lvl5pPr indent="-228600" lvl="4" marL="22860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Fira Sans"/>
              <a:buNone/>
              <a:defRPr sz="44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lt1"/>
                </a:solidFill>
              </a:defRPr>
            </a:lvl6pPr>
            <a:lvl7pPr indent="-228600" lvl="6" marL="32004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lt1"/>
                </a:solidFill>
              </a:defRPr>
            </a:lvl7pPr>
            <a:lvl8pPr indent="-228600" lvl="7" marL="36576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lt1"/>
                </a:solidFill>
              </a:defRPr>
            </a:lvl8pPr>
            <a:lvl9pPr indent="-228600" lvl="8" marL="41148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635" name="Google Shape;635;g3a84205419e_2_205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636" name="Google Shape;636;g3a84205419e_2_205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637" name="Google Shape;637;g3a84205419e_2_205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638" name="Google Shape;638;g3a84205419e_2_205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orient="horz" pos="3883">
          <p15:clr>
            <a:srgbClr val="F26B43"/>
          </p15:clr>
        </p15:guide>
        <p15:guide id="3" pos="257">
          <p15:clr>
            <a:srgbClr val="F26B43"/>
          </p15:clr>
        </p15:guide>
        <p15:guide id="4" pos="7423">
          <p15:clr>
            <a:srgbClr val="F26B43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leslide BLUE" showMasterSp="0">
  <p:cSld name="Titleslide BLUE">
    <p:bg>
      <p:bgPr>
        <a:solidFill>
          <a:schemeClr val="dk2"/>
        </a:solidFill>
      </p:bgPr>
    </p:bg>
    <p:spTree>
      <p:nvGrpSpPr>
        <p:cNvPr id="639" name="Shape 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0" name="Google Shape;640;g3a84205419e_2_214"/>
          <p:cNvSpPr txBox="1"/>
          <p:nvPr>
            <p:ph type="title"/>
          </p:nvPr>
        </p:nvSpPr>
        <p:spPr>
          <a:xfrm>
            <a:off x="768001" y="1269000"/>
            <a:ext cx="8280750" cy="1800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Font typeface="Fira Sans Condensed"/>
              <a:buNone/>
              <a:defRPr sz="52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641" name="Google Shape;641;g3a84205419e_2_214"/>
          <p:cNvSpPr txBox="1"/>
          <p:nvPr>
            <p:ph idx="1" type="subTitle"/>
          </p:nvPr>
        </p:nvSpPr>
        <p:spPr>
          <a:xfrm>
            <a:off x="768001" y="3213000"/>
            <a:ext cx="8280749" cy="1872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9pPr>
          </a:lstStyle>
          <a:p/>
        </p:txBody>
      </p:sp>
      <p:sp>
        <p:nvSpPr>
          <p:cNvPr id="642" name="Google Shape;642;g3a84205419e_2_214"/>
          <p:cNvSpPr txBox="1"/>
          <p:nvPr>
            <p:ph idx="2" type="body"/>
          </p:nvPr>
        </p:nvSpPr>
        <p:spPr>
          <a:xfrm>
            <a:off x="768349" y="6381100"/>
            <a:ext cx="8280401" cy="216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pic>
        <p:nvPicPr>
          <p:cNvPr id="643" name="Google Shape;643;g3a84205419e_2_214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4080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g3a84205419e_2_214"/>
          <p:cNvSpPr txBox="1"/>
          <p:nvPr>
            <p:ph idx="3" type="body"/>
          </p:nvPr>
        </p:nvSpPr>
        <p:spPr>
          <a:xfrm>
            <a:off x="10920000" y="5445000"/>
            <a:ext cx="720000" cy="7200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pic>
        <p:nvPicPr>
          <p:cNvPr id="645" name="Google Shape;645;g3a84205419e_2_214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9912967" y="509517"/>
            <a:ext cx="1727034" cy="53685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7332">
          <p15:clr>
            <a:srgbClr val="FBAE40"/>
          </p15:clr>
        </p15:guide>
        <p15:guide id="2" pos="484">
          <p15:clr>
            <a:srgbClr val="FBAE40"/>
          </p15:clr>
        </p15:guide>
        <p15:guide id="3" orient="horz" pos="2024">
          <p15:clr>
            <a:srgbClr val="FBAE40"/>
          </p15:clr>
        </p15:guide>
        <p15:guide id="4" orient="horz" pos="193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Grazie mille">
  <p:cSld name="Grazie mille">
    <p:bg>
      <p:bgPr>
        <a:solidFill>
          <a:schemeClr val="dk2"/>
        </a:solidFill>
      </p:bgPr>
    </p:bg>
    <p:spTree>
      <p:nvGrpSpPr>
        <p:cNvPr id="106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descr="Ein Bild, das Wasser, Türkis, Blau, Electric Blue (Farbe) enthält.&#10;&#10;KI-generierte Inhalte können fehlerhaft sein." id="107" name="Google Shape;107;p14"/>
          <p:cNvPicPr preferRelativeResize="0"/>
          <p:nvPr/>
        </p:nvPicPr>
        <p:blipFill rotWithShape="1">
          <a:blip r:embed="rId2">
            <a:alphaModFix/>
          </a:blip>
          <a:srcRect b="582" l="33603" r="0" t="18712"/>
          <a:stretch/>
        </p:blipFill>
        <p:spPr>
          <a:xfrm rot="10624375">
            <a:off x="-370761" y="144147"/>
            <a:ext cx="12590648" cy="6351953"/>
          </a:xfrm>
          <a:custGeom>
            <a:rect b="b" l="l" r="r" t="t"/>
            <a:pathLst>
              <a:path extrusionOk="0" h="7175630" w="12555783">
                <a:moveTo>
                  <a:pt x="0" y="7175630"/>
                </a:moveTo>
                <a:lnTo>
                  <a:pt x="0" y="3644438"/>
                </a:lnTo>
                <a:lnTo>
                  <a:pt x="186346" y="0"/>
                </a:lnTo>
                <a:lnTo>
                  <a:pt x="12555783" y="0"/>
                </a:lnTo>
                <a:lnTo>
                  <a:pt x="12555783" y="732466"/>
                </a:lnTo>
                <a:lnTo>
                  <a:pt x="12350519" y="721971"/>
                </a:lnTo>
                <a:lnTo>
                  <a:pt x="12020532" y="7175630"/>
                </a:lnTo>
                <a:close/>
              </a:path>
            </a:pathLst>
          </a:custGeom>
          <a:noFill/>
          <a:ln>
            <a:noFill/>
          </a:ln>
        </p:spPr>
      </p:pic>
      <p:pic>
        <p:nvPicPr>
          <p:cNvPr id="108" name="Google Shape;108;p14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9" name="Google Shape;109;p14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9912967" y="509517"/>
            <a:ext cx="1727034" cy="536858"/>
          </a:xfrm>
          <a:prstGeom prst="rect">
            <a:avLst/>
          </a:prstGeom>
          <a:noFill/>
          <a:ln>
            <a:noFill/>
          </a:ln>
        </p:spPr>
      </p:pic>
      <p:sp>
        <p:nvSpPr>
          <p:cNvPr id="110" name="Google Shape;110;p14"/>
          <p:cNvSpPr txBox="1"/>
          <p:nvPr/>
        </p:nvSpPr>
        <p:spPr>
          <a:xfrm>
            <a:off x="1055687" y="5238901"/>
            <a:ext cx="1703279" cy="906476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16325">
            <a:spAutoFit/>
          </a:bodyPr>
          <a:lstStyle/>
          <a:p>
            <a:pPr indent="0" lvl="0" marL="1632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Fira Sans"/>
              <a:buNone/>
            </a:pPr>
            <a:r>
              <a:rPr b="1" lang="it-IT" sz="1200">
                <a:solidFill>
                  <a:srgbClr val="FFFFFF"/>
                </a:solidFill>
                <a:latin typeface="Fira Sans"/>
                <a:ea typeface="Fira Sans"/>
                <a:cs typeface="Fira Sans"/>
                <a:sym typeface="Fira Sans"/>
              </a:rPr>
              <a:t>MILANO</a:t>
            </a:r>
            <a:endParaRPr b="0" sz="1200">
              <a:solidFill>
                <a:srgbClr val="000000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0" marL="0" marR="6530" rtl="0" algn="l">
              <a:lnSpc>
                <a:spcPct val="100000"/>
              </a:lnSpc>
              <a:spcBef>
                <a:spcPts val="1434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</a:pPr>
            <a:r>
              <a:rPr b="0" lang="it-IT" sz="1000">
                <a:solidFill>
                  <a:srgbClr val="FFFFFF"/>
                </a:solidFill>
                <a:latin typeface="Fira Sans"/>
                <a:ea typeface="Fira Sans"/>
                <a:cs typeface="Fira Sans"/>
                <a:sym typeface="Fira Sans"/>
              </a:rPr>
              <a:t>Viale Edoardo Jenner, 51 20159 Milano, Italia</a:t>
            </a:r>
            <a:endParaRPr b="0" sz="1000">
              <a:solidFill>
                <a:srgbClr val="000000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462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</a:pPr>
            <a:r>
              <a:rPr b="0" lang="it-IT" sz="1000">
                <a:solidFill>
                  <a:srgbClr val="FFFFFF"/>
                </a:solidFill>
                <a:latin typeface="Fira Sans"/>
                <a:ea typeface="Fira Sans"/>
                <a:cs typeface="Fira Sans"/>
                <a:sym typeface="Fira Sans"/>
              </a:rPr>
              <a:t>+39 02 697731</a:t>
            </a:r>
            <a:endParaRPr b="0" sz="1000">
              <a:solidFill>
                <a:srgbClr val="000000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11" name="Google Shape;111;p14"/>
          <p:cNvSpPr txBox="1"/>
          <p:nvPr/>
        </p:nvSpPr>
        <p:spPr>
          <a:xfrm>
            <a:off x="3214620" y="5238900"/>
            <a:ext cx="1206084" cy="906476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16325">
            <a:spAutoFit/>
          </a:bodyPr>
          <a:lstStyle/>
          <a:p>
            <a:pPr indent="0" lvl="0" marL="1632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Fira Sans"/>
              <a:buNone/>
            </a:pPr>
            <a:r>
              <a:rPr b="1" lang="it-IT" sz="1200">
                <a:solidFill>
                  <a:srgbClr val="FFFFFF"/>
                </a:solidFill>
                <a:latin typeface="Fira Sans"/>
                <a:ea typeface="Fira Sans"/>
                <a:cs typeface="Fira Sans"/>
                <a:sym typeface="Fira Sans"/>
              </a:rPr>
              <a:t>LECCE</a:t>
            </a:r>
            <a:endParaRPr b="0" sz="1200">
              <a:solidFill>
                <a:srgbClr val="000000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1364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</a:pPr>
            <a:r>
              <a:rPr b="0" lang="it-IT" sz="1000">
                <a:solidFill>
                  <a:srgbClr val="FFFFFF"/>
                </a:solidFill>
                <a:latin typeface="Fira Sans"/>
                <a:ea typeface="Fira Sans"/>
                <a:cs typeface="Fira Sans"/>
                <a:sym typeface="Fira Sans"/>
              </a:rPr>
              <a:t>Via Merine, 36</a:t>
            </a:r>
            <a:r>
              <a:rPr b="0" lang="it-IT" sz="1000">
                <a:solidFill>
                  <a:srgbClr val="000000"/>
                </a:solidFill>
                <a:latin typeface="Fira Sans"/>
                <a:ea typeface="Fira Sans"/>
                <a:cs typeface="Fira Sans"/>
                <a:sym typeface="Fira Sans"/>
              </a:rPr>
              <a:t> </a:t>
            </a:r>
            <a:r>
              <a:rPr b="0" lang="it-IT" sz="1000">
                <a:solidFill>
                  <a:srgbClr val="FFFFFF"/>
                </a:solidFill>
                <a:latin typeface="Fira Sans"/>
                <a:ea typeface="Fira Sans"/>
                <a:cs typeface="Fira Sans"/>
                <a:sym typeface="Fira Sans"/>
              </a:rPr>
              <a:t>73100 </a:t>
            </a:r>
            <a:br>
              <a:rPr b="0" lang="it-IT" sz="1000">
                <a:solidFill>
                  <a:srgbClr val="FFFFFF"/>
                </a:solidFill>
                <a:latin typeface="Fira Sans"/>
                <a:ea typeface="Fira Sans"/>
                <a:cs typeface="Fira Sans"/>
                <a:sym typeface="Fira Sans"/>
              </a:rPr>
            </a:br>
            <a:r>
              <a:rPr b="0" lang="it-IT" sz="1000">
                <a:solidFill>
                  <a:srgbClr val="FFFFFF"/>
                </a:solidFill>
                <a:latin typeface="Fira Sans"/>
                <a:ea typeface="Fira Sans"/>
                <a:cs typeface="Fira Sans"/>
                <a:sym typeface="Fira Sans"/>
              </a:rPr>
              <a:t>Lecce, Italia</a:t>
            </a:r>
            <a:endParaRPr b="0" sz="1000">
              <a:solidFill>
                <a:srgbClr val="000000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534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</a:pPr>
            <a:r>
              <a:rPr b="0" lang="it-IT" sz="1000">
                <a:solidFill>
                  <a:srgbClr val="FFFFFF"/>
                </a:solidFill>
                <a:latin typeface="Fira Sans"/>
                <a:ea typeface="Fira Sans"/>
                <a:cs typeface="Fira Sans"/>
                <a:sym typeface="Fira Sans"/>
              </a:rPr>
              <a:t>+39 0832 1778061</a:t>
            </a:r>
            <a:endParaRPr b="0" sz="1000">
              <a:solidFill>
                <a:srgbClr val="000000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pic>
        <p:nvPicPr>
          <p:cNvPr id="112" name="Google Shape;112;p14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1055694" y="3831377"/>
            <a:ext cx="138857" cy="138842"/>
          </a:xfrm>
          <a:prstGeom prst="rect">
            <a:avLst/>
          </a:prstGeom>
          <a:noFill/>
          <a:ln>
            <a:noFill/>
          </a:ln>
        </p:spPr>
      </p:pic>
      <p:pic>
        <p:nvPicPr>
          <p:cNvPr id="113" name="Google Shape;113;p14"/>
          <p:cNvPicPr preferRelativeResize="0"/>
          <p:nvPr/>
        </p:nvPicPr>
        <p:blipFill rotWithShape="1">
          <a:blip r:embed="rId5">
            <a:alphaModFix/>
          </a:blip>
          <a:srcRect b="0" l="0" r="0" t="0"/>
          <a:stretch/>
        </p:blipFill>
        <p:spPr>
          <a:xfrm>
            <a:off x="1057734" y="4088099"/>
            <a:ext cx="142939" cy="1017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4" name="Google Shape;114;p14"/>
          <p:cNvPicPr preferRelativeResize="0"/>
          <p:nvPr/>
        </p:nvPicPr>
        <p:blipFill rotWithShape="1">
          <a:blip r:embed="rId6">
            <a:alphaModFix/>
          </a:blip>
          <a:srcRect b="0" l="0" r="0" t="0"/>
          <a:stretch/>
        </p:blipFill>
        <p:spPr>
          <a:xfrm>
            <a:off x="1055688" y="3593222"/>
            <a:ext cx="138828" cy="138825"/>
          </a:xfrm>
          <a:prstGeom prst="rect">
            <a:avLst/>
          </a:prstGeom>
          <a:noFill/>
          <a:ln>
            <a:noFill/>
          </a:ln>
        </p:spPr>
      </p:pic>
      <p:sp>
        <p:nvSpPr>
          <p:cNvPr id="115" name="Google Shape;115;p14"/>
          <p:cNvSpPr txBox="1"/>
          <p:nvPr/>
        </p:nvSpPr>
        <p:spPr>
          <a:xfrm>
            <a:off x="4079776" y="1672349"/>
            <a:ext cx="8424000" cy="37440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Font typeface="Fira Sans Condensed"/>
              <a:buNone/>
            </a:pPr>
            <a:r>
              <a:rPr b="1" lang="it-IT" sz="96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rPr>
              <a:t>Grazie mille.</a:t>
            </a:r>
            <a:endParaRPr/>
          </a:p>
        </p:txBody>
      </p:sp>
      <p:pic>
        <p:nvPicPr>
          <p:cNvPr descr="Ein Bild, das Wasser, Türkis, Blau, Electric Blue (Farbe) enthält.&#10;&#10;KI-generierte Inhalte können fehlerhaft sein." id="116" name="Google Shape;116;p14"/>
          <p:cNvPicPr preferRelativeResize="0"/>
          <p:nvPr/>
        </p:nvPicPr>
        <p:blipFill rotWithShape="1">
          <a:blip r:embed="rId2">
            <a:alphaModFix/>
          </a:blip>
          <a:srcRect b="33166" l="33603" r="46645" t="58771"/>
          <a:stretch/>
        </p:blipFill>
        <p:spPr>
          <a:xfrm rot="10624375">
            <a:off x="8453617" y="2483190"/>
            <a:ext cx="3745475" cy="634567"/>
          </a:xfrm>
          <a:custGeom>
            <a:rect b="b" l="l" r="r" t="t"/>
            <a:pathLst>
              <a:path extrusionOk="0" h="7175630" w="12555783">
                <a:moveTo>
                  <a:pt x="0" y="7175630"/>
                </a:moveTo>
                <a:lnTo>
                  <a:pt x="0" y="3644438"/>
                </a:lnTo>
                <a:lnTo>
                  <a:pt x="186346" y="0"/>
                </a:lnTo>
                <a:lnTo>
                  <a:pt x="12555783" y="0"/>
                </a:lnTo>
                <a:lnTo>
                  <a:pt x="12555783" y="732466"/>
                </a:lnTo>
                <a:lnTo>
                  <a:pt x="12350519" y="721971"/>
                </a:lnTo>
                <a:lnTo>
                  <a:pt x="12020532" y="7175630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117" name="Google Shape;117;p14"/>
          <p:cNvSpPr/>
          <p:nvPr/>
        </p:nvSpPr>
        <p:spPr>
          <a:xfrm>
            <a:off x="11224872" y="6308886"/>
            <a:ext cx="809296" cy="280282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None/>
            </a:pPr>
            <a:r>
              <a:t/>
            </a:r>
            <a:endParaRPr b="0" sz="140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6425">
          <p15:clr>
            <a:srgbClr val="A4A3A4"/>
          </p15:clr>
        </p15:guide>
        <p15:guide id="2" orient="horz" pos="1525">
          <p15:clr>
            <a:srgbClr val="F26B43"/>
          </p15:clr>
        </p15:guide>
        <p15:guide id="3" pos="5972">
          <p15:clr>
            <a:srgbClr val="F26B43"/>
          </p15:clr>
        </p15:guide>
        <p15:guide id="4" pos="665">
          <p15:clr>
            <a:srgbClr val="F26B43"/>
          </p15:clr>
        </p15:guide>
        <p15:guide id="5" orient="horz" pos="3883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Agenda alternative">
  <p:cSld name="Agenda alternative">
    <p:spTree>
      <p:nvGrpSpPr>
        <p:cNvPr id="646" name="Shape 6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7" name="Google Shape;647;g3a84205419e_2_221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648" name="Google Shape;648;g3a84205419e_2_221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649" name="Google Shape;649;g3a84205419e_2_221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650" name="Google Shape;650;g3a84205419e_2_221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651" name="Google Shape;651;g3a84205419e_2_221"/>
          <p:cNvSpPr txBox="1"/>
          <p:nvPr>
            <p:ph idx="1" type="body"/>
          </p:nvPr>
        </p:nvSpPr>
        <p:spPr>
          <a:xfrm>
            <a:off x="1055854" y="1773474"/>
            <a:ext cx="648000" cy="46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652" name="Google Shape;652;g3a84205419e_2_221"/>
          <p:cNvSpPr txBox="1"/>
          <p:nvPr>
            <p:ph idx="2" type="body"/>
          </p:nvPr>
        </p:nvSpPr>
        <p:spPr>
          <a:xfrm>
            <a:off x="1775934" y="1773000"/>
            <a:ext cx="4608066" cy="1008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144000" wrap="square" tIns="828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b="1" sz="20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 b="1" sz="1800"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 sz="1400"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Char char="&gt;"/>
              <a:defRPr sz="1400"/>
            </a:lvl4pPr>
            <a:lvl5pPr indent="-3175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5pPr>
            <a:lvl6pPr indent="-3175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6pPr>
            <a:lvl7pPr indent="-3175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7pPr>
            <a:lvl8pPr indent="-3175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8pPr>
            <a:lvl9pPr indent="-3175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9pPr>
          </a:lstStyle>
          <a:p/>
        </p:txBody>
      </p:sp>
      <p:sp>
        <p:nvSpPr>
          <p:cNvPr id="653" name="Google Shape;653;g3a84205419e_2_221"/>
          <p:cNvSpPr txBox="1"/>
          <p:nvPr>
            <p:ph idx="3" type="body"/>
          </p:nvPr>
        </p:nvSpPr>
        <p:spPr>
          <a:xfrm>
            <a:off x="1055854" y="2853474"/>
            <a:ext cx="648000" cy="46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654" name="Google Shape;654;g3a84205419e_2_221"/>
          <p:cNvSpPr txBox="1"/>
          <p:nvPr>
            <p:ph idx="4" type="body"/>
          </p:nvPr>
        </p:nvSpPr>
        <p:spPr>
          <a:xfrm>
            <a:off x="1775934" y="2853000"/>
            <a:ext cx="4608066" cy="1008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144000" wrap="square" tIns="828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b="1" sz="20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 b="1" sz="1800"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 sz="1400"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Char char="&gt;"/>
              <a:defRPr sz="1400"/>
            </a:lvl4pPr>
            <a:lvl5pPr indent="-3175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5pPr>
            <a:lvl6pPr indent="-3175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6pPr>
            <a:lvl7pPr indent="-3175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7pPr>
            <a:lvl8pPr indent="-3175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8pPr>
            <a:lvl9pPr indent="-3175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9pPr>
          </a:lstStyle>
          <a:p/>
        </p:txBody>
      </p:sp>
      <p:sp>
        <p:nvSpPr>
          <p:cNvPr id="655" name="Google Shape;655;g3a84205419e_2_221"/>
          <p:cNvSpPr txBox="1"/>
          <p:nvPr>
            <p:ph idx="5" type="body"/>
          </p:nvPr>
        </p:nvSpPr>
        <p:spPr>
          <a:xfrm>
            <a:off x="1056000" y="3933474"/>
            <a:ext cx="648000" cy="46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656" name="Google Shape;656;g3a84205419e_2_221"/>
          <p:cNvSpPr txBox="1"/>
          <p:nvPr>
            <p:ph idx="6" type="body"/>
          </p:nvPr>
        </p:nvSpPr>
        <p:spPr>
          <a:xfrm>
            <a:off x="1776080" y="3933000"/>
            <a:ext cx="4608066" cy="1008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144000" wrap="square" tIns="828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b="1" sz="20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 b="1" sz="1800"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 sz="1400"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Char char="&gt;"/>
              <a:defRPr sz="1400"/>
            </a:lvl4pPr>
            <a:lvl5pPr indent="-3175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5pPr>
            <a:lvl6pPr indent="-3175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6pPr>
            <a:lvl7pPr indent="-3175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7pPr>
            <a:lvl8pPr indent="-3175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8pPr>
            <a:lvl9pPr indent="-3175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9pPr>
          </a:lstStyle>
          <a:p/>
        </p:txBody>
      </p:sp>
      <p:sp>
        <p:nvSpPr>
          <p:cNvPr id="657" name="Google Shape;657;g3a84205419e_2_221"/>
          <p:cNvSpPr txBox="1"/>
          <p:nvPr>
            <p:ph idx="7" type="body"/>
          </p:nvPr>
        </p:nvSpPr>
        <p:spPr>
          <a:xfrm>
            <a:off x="1056146" y="5013474"/>
            <a:ext cx="648000" cy="46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658" name="Google Shape;658;g3a84205419e_2_221"/>
          <p:cNvSpPr txBox="1"/>
          <p:nvPr>
            <p:ph idx="8" type="body"/>
          </p:nvPr>
        </p:nvSpPr>
        <p:spPr>
          <a:xfrm>
            <a:off x="1776226" y="5013000"/>
            <a:ext cx="4608066" cy="1008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144000" wrap="square" tIns="828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b="1" sz="20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 b="1" sz="1800"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 sz="1400"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Char char="&gt;"/>
              <a:defRPr sz="1400"/>
            </a:lvl4pPr>
            <a:lvl5pPr indent="-3175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5pPr>
            <a:lvl6pPr indent="-3175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6pPr>
            <a:lvl7pPr indent="-3175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7pPr>
            <a:lvl8pPr indent="-3175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8pPr>
            <a:lvl9pPr indent="-3175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9pPr>
          </a:lstStyle>
          <a:p/>
        </p:txBody>
      </p:sp>
      <p:sp>
        <p:nvSpPr>
          <p:cNvPr id="659" name="Google Shape;659;g3a84205419e_2_221"/>
          <p:cNvSpPr txBox="1"/>
          <p:nvPr>
            <p:ph idx="9" type="body"/>
          </p:nvPr>
        </p:nvSpPr>
        <p:spPr>
          <a:xfrm>
            <a:off x="6455854" y="1773474"/>
            <a:ext cx="648000" cy="46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660" name="Google Shape;660;g3a84205419e_2_221"/>
          <p:cNvSpPr txBox="1"/>
          <p:nvPr>
            <p:ph idx="13" type="body"/>
          </p:nvPr>
        </p:nvSpPr>
        <p:spPr>
          <a:xfrm>
            <a:off x="7175934" y="1773000"/>
            <a:ext cx="4608066" cy="1008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144000" wrap="square" tIns="828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b="1" sz="20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 b="1" sz="1800"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 sz="1400"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Char char="&gt;"/>
              <a:defRPr sz="1400"/>
            </a:lvl4pPr>
            <a:lvl5pPr indent="-3175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5pPr>
            <a:lvl6pPr indent="-3175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6pPr>
            <a:lvl7pPr indent="-3175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7pPr>
            <a:lvl8pPr indent="-3175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8pPr>
            <a:lvl9pPr indent="-3175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9pPr>
          </a:lstStyle>
          <a:p/>
        </p:txBody>
      </p:sp>
      <p:sp>
        <p:nvSpPr>
          <p:cNvPr id="661" name="Google Shape;661;g3a84205419e_2_221"/>
          <p:cNvSpPr txBox="1"/>
          <p:nvPr>
            <p:ph idx="14" type="body"/>
          </p:nvPr>
        </p:nvSpPr>
        <p:spPr>
          <a:xfrm>
            <a:off x="6456000" y="2853474"/>
            <a:ext cx="648000" cy="46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662" name="Google Shape;662;g3a84205419e_2_221"/>
          <p:cNvSpPr txBox="1"/>
          <p:nvPr>
            <p:ph idx="15" type="body"/>
          </p:nvPr>
        </p:nvSpPr>
        <p:spPr>
          <a:xfrm>
            <a:off x="7176080" y="2853000"/>
            <a:ext cx="4608066" cy="1008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144000" wrap="square" tIns="828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b="1" sz="20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 b="1" sz="1800"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 sz="1400"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Char char="&gt;"/>
              <a:defRPr sz="1400"/>
            </a:lvl4pPr>
            <a:lvl5pPr indent="-3175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5pPr>
            <a:lvl6pPr indent="-3175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6pPr>
            <a:lvl7pPr indent="-3175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7pPr>
            <a:lvl8pPr indent="-3175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8pPr>
            <a:lvl9pPr indent="-3175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9pPr>
          </a:lstStyle>
          <a:p/>
        </p:txBody>
      </p:sp>
      <p:sp>
        <p:nvSpPr>
          <p:cNvPr id="663" name="Google Shape;663;g3a84205419e_2_221"/>
          <p:cNvSpPr txBox="1"/>
          <p:nvPr>
            <p:ph idx="16" type="body"/>
          </p:nvPr>
        </p:nvSpPr>
        <p:spPr>
          <a:xfrm>
            <a:off x="6456146" y="3933474"/>
            <a:ext cx="648000" cy="46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664" name="Google Shape;664;g3a84205419e_2_221"/>
          <p:cNvSpPr txBox="1"/>
          <p:nvPr>
            <p:ph idx="17" type="body"/>
          </p:nvPr>
        </p:nvSpPr>
        <p:spPr>
          <a:xfrm>
            <a:off x="7176226" y="3933000"/>
            <a:ext cx="4608066" cy="1008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144000" wrap="square" tIns="828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b="1" sz="20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 b="1" sz="1800"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 sz="1400"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Char char="&gt;"/>
              <a:defRPr sz="1400"/>
            </a:lvl4pPr>
            <a:lvl5pPr indent="-3175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5pPr>
            <a:lvl6pPr indent="-3175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6pPr>
            <a:lvl7pPr indent="-3175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7pPr>
            <a:lvl8pPr indent="-3175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8pPr>
            <a:lvl9pPr indent="-3175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9pPr>
          </a:lstStyle>
          <a:p/>
        </p:txBody>
      </p:sp>
      <p:sp>
        <p:nvSpPr>
          <p:cNvPr id="665" name="Google Shape;665;g3a84205419e_2_221"/>
          <p:cNvSpPr txBox="1"/>
          <p:nvPr>
            <p:ph idx="18" type="body"/>
          </p:nvPr>
        </p:nvSpPr>
        <p:spPr>
          <a:xfrm>
            <a:off x="6456292" y="5013474"/>
            <a:ext cx="648000" cy="46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Font typeface="Fira Sans"/>
              <a:buNone/>
              <a:defRPr b="1" sz="3600">
                <a:solidFill>
                  <a:schemeClr val="lt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666" name="Google Shape;666;g3a84205419e_2_221"/>
          <p:cNvSpPr txBox="1"/>
          <p:nvPr>
            <p:ph idx="19" type="body"/>
          </p:nvPr>
        </p:nvSpPr>
        <p:spPr>
          <a:xfrm>
            <a:off x="7176372" y="5013000"/>
            <a:ext cx="4608066" cy="1008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144000" wrap="square" tIns="8280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b="1" sz="20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 b="1" sz="1800"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 sz="1400"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Char char="&gt;"/>
              <a:defRPr sz="1400"/>
            </a:lvl4pPr>
            <a:lvl5pPr indent="-3175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5pPr>
            <a:lvl6pPr indent="-3175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6pPr>
            <a:lvl7pPr indent="-3175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7pPr>
            <a:lvl8pPr indent="-3175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8pPr>
            <a:lvl9pPr indent="-3175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oto Sans Symbols"/>
              <a:buChar char="−"/>
              <a:defRPr b="0" sz="1400">
                <a:solidFill>
                  <a:schemeClr val="dk1"/>
                </a:solidFill>
              </a:defRPr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pos="665">
          <p15:clr>
            <a:srgbClr val="F26B43"/>
          </p15:clr>
        </p15:guide>
        <p15:guide id="3" orient="horz" pos="3883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323">
          <p15:clr>
            <a:srgbClr val="F26B43"/>
          </p15:clr>
        </p15:guide>
        <p15:guide id="6" pos="257">
          <p15:clr>
            <a:srgbClr val="A4A3A4"/>
          </p15:clr>
        </p15:guide>
        <p15:guide id="7" pos="4067">
          <p15:clr>
            <a:srgbClr val="F26B43"/>
          </p15:clr>
        </p15:guide>
        <p15:guide id="8" pos="4021">
          <p15:clr>
            <a:srgbClr val="F26B43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Section Header WHITE">
  <p:cSld name="Section Header WHITE">
    <p:spTree>
      <p:nvGrpSpPr>
        <p:cNvPr id="667" name="Shape 6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8" name="Google Shape;668;g3a84205419e_2_242"/>
          <p:cNvSpPr/>
          <p:nvPr/>
        </p:nvSpPr>
        <p:spPr>
          <a:xfrm>
            <a:off x="5736000" y="6309000"/>
            <a:ext cx="1080000" cy="54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-76200" lvl="0" marL="1778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Fira Sans"/>
              <a:buNone/>
            </a:pPr>
            <a:r>
              <a:t/>
            </a:r>
            <a:endParaRPr b="0" sz="1600">
              <a:solidFill>
                <a:schemeClr val="dk2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669" name="Google Shape;669;g3a84205419e_2_242"/>
          <p:cNvSpPr/>
          <p:nvPr/>
        </p:nvSpPr>
        <p:spPr>
          <a:xfrm>
            <a:off x="0" y="0"/>
            <a:ext cx="1872000" cy="981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Fira Sans"/>
              <a:buNone/>
            </a:pPr>
            <a:r>
              <a:t/>
            </a:r>
            <a:endParaRPr b="0" sz="1600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670" name="Google Shape;670;g3a84205419e_2_242"/>
          <p:cNvSpPr txBox="1"/>
          <p:nvPr>
            <p:ph type="title"/>
          </p:nvPr>
        </p:nvSpPr>
        <p:spPr>
          <a:xfrm>
            <a:off x="1055688" y="1268900"/>
            <a:ext cx="8856662" cy="20881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200"/>
              <a:buFont typeface="Fira Sans Condensed"/>
              <a:buNone/>
              <a:defRPr sz="52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671" name="Google Shape;671;g3a84205419e_2_242"/>
          <p:cNvSpPr txBox="1"/>
          <p:nvPr>
            <p:ph idx="1" type="body"/>
          </p:nvPr>
        </p:nvSpPr>
        <p:spPr>
          <a:xfrm>
            <a:off x="1055688" y="3428912"/>
            <a:ext cx="8856662" cy="144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600"/>
              <a:buNone/>
              <a:defRPr b="0" sz="4600">
                <a:solidFill>
                  <a:schemeClr val="dk2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Font typeface="Fira Sans"/>
              <a:buNone/>
              <a:defRPr b="0" sz="4600">
                <a:solidFill>
                  <a:schemeClr val="dk2"/>
                </a:solidFill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9pPr>
          </a:lstStyle>
          <a:p/>
        </p:txBody>
      </p:sp>
      <p:sp>
        <p:nvSpPr>
          <p:cNvPr id="672" name="Google Shape;672;g3a84205419e_2_242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673" name="Google Shape;673;g3a84205419e_2_242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674" name="Google Shape;674;g3a84205419e_2_242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675" name="Google Shape;675;g3a84205419e_2_242"/>
          <p:cNvSpPr txBox="1"/>
          <p:nvPr>
            <p:ph idx="2" type="body"/>
          </p:nvPr>
        </p:nvSpPr>
        <p:spPr>
          <a:xfrm>
            <a:off x="10632000" y="4761000"/>
            <a:ext cx="756000" cy="756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sp>
        <p:nvSpPr>
          <p:cNvPr id="676" name="Google Shape;676;g3a84205419e_2_242"/>
          <p:cNvSpPr txBox="1"/>
          <p:nvPr>
            <p:ph idx="3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6244">
          <p15:clr>
            <a:srgbClr val="F26B43"/>
          </p15:clr>
        </p15:guide>
        <p15:guide id="2" orient="horz" pos="2115">
          <p15:clr>
            <a:srgbClr val="F26B43"/>
          </p15:clr>
        </p15:guide>
        <p15:guide id="3" orient="horz" pos="2160">
          <p15:clr>
            <a:srgbClr val="F26B43"/>
          </p15:clr>
        </p15:guide>
        <p15:guide id="4" pos="665">
          <p15:clr>
            <a:srgbClr val="F26B43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Section Header Picture BRIGHT">
  <p:cSld name="Section Header Picture BRIGHT">
    <p:spTree>
      <p:nvGrpSpPr>
        <p:cNvPr id="677" name="Shape 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8" name="Google Shape;678;g3a84205419e_2_252"/>
          <p:cNvSpPr/>
          <p:nvPr>
            <p:ph idx="2" type="pic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679" name="Google Shape;679;g3a84205419e_2_252"/>
          <p:cNvSpPr txBox="1"/>
          <p:nvPr>
            <p:ph idx="1" type="body"/>
          </p:nvPr>
        </p:nvSpPr>
        <p:spPr>
          <a:xfrm>
            <a:off x="0" y="3717000"/>
            <a:ext cx="12192000" cy="31410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4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9pPr>
          </a:lstStyle>
          <a:p/>
        </p:txBody>
      </p:sp>
      <p:sp>
        <p:nvSpPr>
          <p:cNvPr id="680" name="Google Shape;680;g3a84205419e_2_252"/>
          <p:cNvSpPr txBox="1"/>
          <p:nvPr>
            <p:ph type="title"/>
          </p:nvPr>
        </p:nvSpPr>
        <p:spPr>
          <a:xfrm>
            <a:off x="1055688" y="1268900"/>
            <a:ext cx="8856662" cy="20881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200"/>
              <a:buFont typeface="Fira Sans Condensed"/>
              <a:buNone/>
              <a:defRPr sz="52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681" name="Google Shape;681;g3a84205419e_2_252"/>
          <p:cNvSpPr txBox="1"/>
          <p:nvPr>
            <p:ph idx="3" type="body"/>
          </p:nvPr>
        </p:nvSpPr>
        <p:spPr>
          <a:xfrm>
            <a:off x="1055688" y="3428912"/>
            <a:ext cx="8856662" cy="144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600"/>
              <a:buNone/>
              <a:defRPr b="0" sz="4600">
                <a:solidFill>
                  <a:schemeClr val="dk2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Font typeface="Fira Sans"/>
              <a:buNone/>
              <a:defRPr b="0" sz="4600">
                <a:solidFill>
                  <a:schemeClr val="dk2"/>
                </a:solidFill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dk2"/>
                </a:solidFill>
              </a:defRPr>
            </a:lvl9pPr>
          </a:lstStyle>
          <a:p/>
        </p:txBody>
      </p:sp>
      <p:sp>
        <p:nvSpPr>
          <p:cNvPr id="682" name="Google Shape;682;g3a84205419e_2_252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683" name="Google Shape;683;g3a84205419e_2_252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684" name="Google Shape;684;g3a84205419e_2_252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685" name="Google Shape;685;g3a84205419e_2_252"/>
          <p:cNvSpPr txBox="1"/>
          <p:nvPr>
            <p:ph idx="4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686" name="Google Shape;686;g3a84205419e_2_252"/>
          <p:cNvSpPr txBox="1"/>
          <p:nvPr>
            <p:ph idx="5" type="body"/>
          </p:nvPr>
        </p:nvSpPr>
        <p:spPr>
          <a:xfrm>
            <a:off x="10632000" y="4761000"/>
            <a:ext cx="756000" cy="7560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pic>
        <p:nvPicPr>
          <p:cNvPr id="687" name="Google Shape;687;g3a84205419e_2_252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6244">
          <p15:clr>
            <a:srgbClr val="F26B43"/>
          </p15:clr>
        </p15:guide>
        <p15:guide id="2" orient="horz" pos="2115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pos="665">
          <p15:clr>
            <a:srgbClr val="F26B43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Section Header Picture DARK">
  <p:cSld name="Section Header Picture DARK">
    <p:spTree>
      <p:nvGrpSpPr>
        <p:cNvPr id="688" name="Shape 6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9" name="Google Shape;689;g3a84205419e_2_263"/>
          <p:cNvSpPr/>
          <p:nvPr>
            <p:ph idx="2" type="pic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</p:sp>
      <p:sp>
        <p:nvSpPr>
          <p:cNvPr id="690" name="Google Shape;690;g3a84205419e_2_263"/>
          <p:cNvSpPr txBox="1"/>
          <p:nvPr>
            <p:ph idx="1" type="body"/>
          </p:nvPr>
        </p:nvSpPr>
        <p:spPr>
          <a:xfrm>
            <a:off x="0" y="3717000"/>
            <a:ext cx="12192000" cy="3141001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2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None/>
              <a:defRPr/>
            </a:lvl1pPr>
            <a:lvl2pPr indent="-3429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2pPr>
            <a:lvl3pPr indent="-3429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/>
            </a:lvl6pPr>
            <a:lvl7pPr indent="-3429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7pPr>
            <a:lvl8pPr indent="-3429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8pPr>
            <a:lvl9pPr indent="-3429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800"/>
              <a:buChar char="−"/>
              <a:defRPr/>
            </a:lvl9pPr>
          </a:lstStyle>
          <a:p/>
        </p:txBody>
      </p:sp>
      <p:sp>
        <p:nvSpPr>
          <p:cNvPr id="691" name="Google Shape;691;g3a84205419e_2_263"/>
          <p:cNvSpPr txBox="1"/>
          <p:nvPr>
            <p:ph type="title"/>
          </p:nvPr>
        </p:nvSpPr>
        <p:spPr>
          <a:xfrm>
            <a:off x="1055688" y="1268900"/>
            <a:ext cx="8856662" cy="20881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Font typeface="Fira Sans Condensed"/>
              <a:buNone/>
              <a:defRPr sz="52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692" name="Google Shape;692;g3a84205419e_2_263"/>
          <p:cNvSpPr txBox="1"/>
          <p:nvPr>
            <p:ph idx="3" type="body"/>
          </p:nvPr>
        </p:nvSpPr>
        <p:spPr>
          <a:xfrm>
            <a:off x="1055688" y="3429000"/>
            <a:ext cx="8856662" cy="144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600"/>
              <a:buNone/>
              <a:defRPr b="0" sz="4600"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Font typeface="Fira Sans"/>
              <a:buNone/>
              <a:defRPr b="0" sz="4600">
                <a:solidFill>
                  <a:schemeClr val="lt1"/>
                </a:solidFill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600"/>
              <a:buNone/>
              <a:defRPr b="0" sz="4600"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693" name="Google Shape;693;g3a84205419e_2_263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694" name="Google Shape;694;g3a84205419e_2_263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695" name="Google Shape;695;g3a84205419e_2_263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696" name="Google Shape;696;g3a84205419e_2_263"/>
          <p:cNvSpPr txBox="1"/>
          <p:nvPr>
            <p:ph idx="4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697" name="Google Shape;697;g3a84205419e_2_263"/>
          <p:cNvSpPr txBox="1"/>
          <p:nvPr>
            <p:ph idx="5" type="body"/>
          </p:nvPr>
        </p:nvSpPr>
        <p:spPr>
          <a:xfrm>
            <a:off x="10632000" y="4761000"/>
            <a:ext cx="756000" cy="7560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pic>
        <p:nvPicPr>
          <p:cNvPr id="698" name="Google Shape;698;g3a84205419e_2_263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6244">
          <p15:clr>
            <a:srgbClr val="F26B43"/>
          </p15:clr>
        </p15:guide>
        <p15:guide id="2" orient="horz" pos="2115">
          <p15:clr>
            <a:srgbClr val="F26B43"/>
          </p15:clr>
        </p15:guide>
        <p15:guide id="3" orient="horz" pos="2160">
          <p15:clr>
            <a:srgbClr val="F26B43"/>
          </p15:clr>
        </p15:guide>
        <p15:guide id="4" pos="665">
          <p15:clr>
            <a:srgbClr val="F26B43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Section Header half Picture WHITE ">
  <p:cSld name="Section Header half Picture WHITE ">
    <p:spTree>
      <p:nvGrpSpPr>
        <p:cNvPr id="699" name="Shape 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0" name="Google Shape;700;g3a84205419e_2_274"/>
          <p:cNvSpPr/>
          <p:nvPr/>
        </p:nvSpPr>
        <p:spPr>
          <a:xfrm>
            <a:off x="5736000" y="6309000"/>
            <a:ext cx="1080000" cy="54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-76200" lvl="0" marL="1778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Fira Sans"/>
              <a:buNone/>
            </a:pPr>
            <a:r>
              <a:t/>
            </a:r>
            <a:endParaRPr b="0" sz="1600">
              <a:solidFill>
                <a:schemeClr val="dk2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701" name="Google Shape;701;g3a84205419e_2_274"/>
          <p:cNvSpPr/>
          <p:nvPr>
            <p:ph idx="2" type="pic"/>
          </p:nvPr>
        </p:nvSpPr>
        <p:spPr>
          <a:xfrm>
            <a:off x="6672262" y="0"/>
            <a:ext cx="5519737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702" name="Google Shape;702;g3a84205419e_2_274"/>
          <p:cNvSpPr txBox="1"/>
          <p:nvPr>
            <p:ph idx="1" type="body"/>
          </p:nvPr>
        </p:nvSpPr>
        <p:spPr>
          <a:xfrm>
            <a:off x="6672262" y="3717000"/>
            <a:ext cx="5519737" cy="31410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4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9pPr>
          </a:lstStyle>
          <a:p/>
        </p:txBody>
      </p:sp>
      <p:sp>
        <p:nvSpPr>
          <p:cNvPr id="703" name="Google Shape;703;g3a84205419e_2_274"/>
          <p:cNvSpPr/>
          <p:nvPr/>
        </p:nvSpPr>
        <p:spPr>
          <a:xfrm>
            <a:off x="0" y="0"/>
            <a:ext cx="1872000" cy="981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Fira Sans"/>
              <a:buNone/>
            </a:pPr>
            <a:r>
              <a:t/>
            </a:r>
            <a:endParaRPr b="0" sz="1600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704" name="Google Shape;704;g3a84205419e_2_274"/>
          <p:cNvSpPr txBox="1"/>
          <p:nvPr>
            <p:ph type="title"/>
          </p:nvPr>
        </p:nvSpPr>
        <p:spPr>
          <a:xfrm>
            <a:off x="407988" y="693000"/>
            <a:ext cx="5759450" cy="1872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Fira Sans Condensed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705" name="Google Shape;705;g3a84205419e_2_274"/>
          <p:cNvSpPr txBox="1"/>
          <p:nvPr>
            <p:ph idx="3" type="body"/>
          </p:nvPr>
        </p:nvSpPr>
        <p:spPr>
          <a:xfrm>
            <a:off x="407988" y="2564912"/>
            <a:ext cx="5759450" cy="1944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dk2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dk2"/>
                </a:solidFill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dk2"/>
                </a:solidFill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dk2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b="0" sz="4200">
                <a:solidFill>
                  <a:schemeClr val="dk2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Font typeface="Fira Sans"/>
              <a:buNone/>
              <a:defRPr b="0" sz="4200">
                <a:solidFill>
                  <a:schemeClr val="dk2"/>
                </a:solidFill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dk2"/>
                </a:solidFill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dk2"/>
                </a:solidFill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dk2"/>
                </a:solidFill>
              </a:defRPr>
            </a:lvl9pPr>
          </a:lstStyle>
          <a:p/>
        </p:txBody>
      </p:sp>
      <p:sp>
        <p:nvSpPr>
          <p:cNvPr id="706" name="Google Shape;706;g3a84205419e_2_274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707" name="Google Shape;707;g3a84205419e_2_274"/>
          <p:cNvSpPr txBox="1"/>
          <p:nvPr>
            <p:ph idx="11" type="ftr"/>
          </p:nvPr>
        </p:nvSpPr>
        <p:spPr>
          <a:xfrm>
            <a:off x="1055687" y="6453000"/>
            <a:ext cx="468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708" name="Google Shape;708;g3a84205419e_2_274"/>
          <p:cNvSpPr txBox="1"/>
          <p:nvPr>
            <p:ph idx="10" type="dt"/>
          </p:nvPr>
        </p:nvSpPr>
        <p:spPr>
          <a:xfrm>
            <a:off x="6888000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709" name="Google Shape;709;g3a84205419e_2_274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6154406" y="647562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g3a84205419e_2_274"/>
          <p:cNvSpPr txBox="1"/>
          <p:nvPr>
            <p:ph idx="4" type="body"/>
          </p:nvPr>
        </p:nvSpPr>
        <p:spPr>
          <a:xfrm>
            <a:off x="4944000" y="4869000"/>
            <a:ext cx="1224000" cy="12240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sp>
        <p:nvSpPr>
          <p:cNvPr id="711" name="Google Shape;711;g3a84205419e_2_274"/>
          <p:cNvSpPr txBox="1"/>
          <p:nvPr>
            <p:ph idx="5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616">
          <p15:clr>
            <a:srgbClr val="F26B43"/>
          </p15:clr>
        </p15:guide>
        <p15:guide id="2" pos="3885">
          <p15:clr>
            <a:srgbClr val="F26B43"/>
          </p15:clr>
        </p15:guide>
        <p15:guide id="3" pos="4203">
          <p15:clr>
            <a:srgbClr val="F26B43"/>
          </p15:clr>
        </p15:guide>
        <p15:guide id="4" pos="257">
          <p15:clr>
            <a:srgbClr val="F26B43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Section Header half Picture DARK">
  <p:cSld name="Section Header half Picture DARK">
    <p:spTree>
      <p:nvGrpSpPr>
        <p:cNvPr id="712" name="Shape 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3" name="Google Shape;713;g3a84205419e_2_287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4" name="Google Shape;714;g3a84205419e_2_287"/>
          <p:cNvSpPr/>
          <p:nvPr>
            <p:ph idx="2" type="pic"/>
          </p:nvPr>
        </p:nvSpPr>
        <p:spPr>
          <a:xfrm>
            <a:off x="6672263" y="0"/>
            <a:ext cx="5519737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715" name="Google Shape;715;g3a84205419e_2_287"/>
          <p:cNvSpPr txBox="1"/>
          <p:nvPr>
            <p:ph idx="1" type="body"/>
          </p:nvPr>
        </p:nvSpPr>
        <p:spPr>
          <a:xfrm>
            <a:off x="6672262" y="3717000"/>
            <a:ext cx="5519737" cy="31410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4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9pPr>
          </a:lstStyle>
          <a:p/>
        </p:txBody>
      </p:sp>
      <p:sp>
        <p:nvSpPr>
          <p:cNvPr id="716" name="Google Shape;716;g3a84205419e_2_287"/>
          <p:cNvSpPr txBox="1"/>
          <p:nvPr>
            <p:ph type="title"/>
          </p:nvPr>
        </p:nvSpPr>
        <p:spPr>
          <a:xfrm>
            <a:off x="407988" y="693000"/>
            <a:ext cx="5759450" cy="1872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Fira Sans Condensed"/>
              <a:buNone/>
              <a:defRPr sz="48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717" name="Google Shape;717;g3a84205419e_2_287"/>
          <p:cNvSpPr txBox="1"/>
          <p:nvPr>
            <p:ph idx="3" type="body"/>
          </p:nvPr>
        </p:nvSpPr>
        <p:spPr>
          <a:xfrm>
            <a:off x="407988" y="2564912"/>
            <a:ext cx="5760751" cy="1944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lt1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lt1"/>
                </a:solidFill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lt1"/>
                </a:solidFill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b="0" sz="4200"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Font typeface="Fira Sans"/>
              <a:buNone/>
              <a:defRPr b="0" sz="4200">
                <a:solidFill>
                  <a:schemeClr val="lt1"/>
                </a:solidFill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lt1"/>
                </a:solidFill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lt1"/>
                </a:solidFill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b="0" sz="4200"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718" name="Google Shape;718;g3a84205419e_2_287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719" name="Google Shape;719;g3a84205419e_2_287"/>
          <p:cNvSpPr txBox="1"/>
          <p:nvPr>
            <p:ph idx="11" type="ftr"/>
          </p:nvPr>
        </p:nvSpPr>
        <p:spPr>
          <a:xfrm>
            <a:off x="1055687" y="6453000"/>
            <a:ext cx="468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720" name="Google Shape;720;g3a84205419e_2_287"/>
          <p:cNvSpPr txBox="1"/>
          <p:nvPr>
            <p:ph idx="4" type="body"/>
          </p:nvPr>
        </p:nvSpPr>
        <p:spPr>
          <a:xfrm>
            <a:off x="4944000" y="4869000"/>
            <a:ext cx="1224000" cy="12240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>
                <a:solidFill>
                  <a:schemeClr val="lt1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sp>
        <p:nvSpPr>
          <p:cNvPr id="721" name="Google Shape;721;g3a84205419e_2_287"/>
          <p:cNvSpPr txBox="1"/>
          <p:nvPr>
            <p:ph idx="10" type="dt"/>
          </p:nvPr>
        </p:nvSpPr>
        <p:spPr>
          <a:xfrm>
            <a:off x="6888000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722" name="Google Shape;722;g3a84205419e_2_287"/>
          <p:cNvSpPr txBox="1"/>
          <p:nvPr>
            <p:ph idx="5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616">
          <p15:clr>
            <a:srgbClr val="F26B43"/>
          </p15:clr>
        </p15:guide>
        <p15:guide id="2" pos="3885">
          <p15:clr>
            <a:srgbClr val="F26B43"/>
          </p15:clr>
        </p15:guide>
        <p15:guide id="3" pos="4203">
          <p15:clr>
            <a:srgbClr val="F26B43"/>
          </p15:clr>
        </p15:guide>
        <p15:guide id="4" pos="257">
          <p15:clr>
            <a:srgbClr val="F26B43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wo Content WHITE">
  <p:cSld name="Two Content WHITE">
    <p:spTree>
      <p:nvGrpSpPr>
        <p:cNvPr id="723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4" name="Google Shape;724;g3a84205419e_2_298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725" name="Google Shape;725;g3a84205419e_2_298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726" name="Google Shape;726;g3a84205419e_2_298"/>
          <p:cNvSpPr txBox="1"/>
          <p:nvPr>
            <p:ph idx="1" type="body"/>
          </p:nvPr>
        </p:nvSpPr>
        <p:spPr>
          <a:xfrm>
            <a:off x="1056000" y="1772388"/>
            <a:ext cx="5112000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/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000"/>
              <a:buChar char="−"/>
              <a:defRPr/>
            </a:lvl9pPr>
          </a:lstStyle>
          <a:p/>
        </p:txBody>
      </p:sp>
      <p:sp>
        <p:nvSpPr>
          <p:cNvPr id="727" name="Google Shape;727;g3a84205419e_2_298"/>
          <p:cNvSpPr txBox="1"/>
          <p:nvPr>
            <p:ph idx="2" type="body"/>
          </p:nvPr>
        </p:nvSpPr>
        <p:spPr>
          <a:xfrm>
            <a:off x="6671537" y="1772388"/>
            <a:ext cx="5112000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&gt;"/>
              <a:defRPr/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/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000"/>
              <a:buChar char="&gt;"/>
              <a:defRPr/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000"/>
              <a:buChar char="−"/>
              <a:defRPr/>
            </a:lvl9pPr>
          </a:lstStyle>
          <a:p/>
        </p:txBody>
      </p:sp>
      <p:sp>
        <p:nvSpPr>
          <p:cNvPr id="728" name="Google Shape;728;g3a84205419e_2_298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729" name="Google Shape;729;g3a84205419e_2_298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730" name="Google Shape;730;g3a84205419e_2_298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3885">
          <p15:clr>
            <a:srgbClr val="F26B43"/>
          </p15:clr>
        </p15:guide>
        <p15:guide id="2" pos="4203">
          <p15:clr>
            <a:srgbClr val="F26B43"/>
          </p15:clr>
        </p15:guide>
        <p15:guide id="3" pos="7423">
          <p15:clr>
            <a:srgbClr val="F26B43"/>
          </p15:clr>
        </p15:guide>
        <p15:guide id="4" pos="665">
          <p15:clr>
            <a:srgbClr val="F26B43"/>
          </p15:clr>
        </p15:guide>
        <p15:guide id="5" orient="horz" pos="1117">
          <p15:clr>
            <a:srgbClr val="F26B43"/>
          </p15:clr>
        </p15:guide>
        <p15:guide id="6" orient="horz" pos="3883">
          <p15:clr>
            <a:srgbClr val="F26B43"/>
          </p15:clr>
        </p15:guide>
        <p15:guide id="7" orient="horz" pos="323">
          <p15:clr>
            <a:srgbClr val="F26B43"/>
          </p15:clr>
        </p15:guide>
        <p15:guide id="8" pos="257">
          <p15:clr>
            <a:srgbClr val="A4A3A4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Content with Picture DARK">
  <p:cSld name="Content with Picture DARK">
    <p:spTree>
      <p:nvGrpSpPr>
        <p:cNvPr id="731" name="Shape 7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2" name="Google Shape;732;g3a84205419e_2_306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pic>
        <p:nvPicPr>
          <p:cNvPr id="733" name="Google Shape;733;g3a84205419e_2_306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34" name="Google Shape;734;g3a84205419e_2_306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61559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735" name="Google Shape;735;g3a84205419e_2_306"/>
          <p:cNvSpPr txBox="1"/>
          <p:nvPr>
            <p:ph type="title"/>
          </p:nvPr>
        </p:nvSpPr>
        <p:spPr>
          <a:xfrm>
            <a:off x="1055689" y="512796"/>
            <a:ext cx="511175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  <a:defRPr sz="34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736" name="Google Shape;736;g3a84205419e_2_306"/>
          <p:cNvSpPr txBox="1"/>
          <p:nvPr>
            <p:ph idx="1" type="body"/>
          </p:nvPr>
        </p:nvSpPr>
        <p:spPr>
          <a:xfrm>
            <a:off x="1056001" y="1772388"/>
            <a:ext cx="5111454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>
                <a:solidFill>
                  <a:schemeClr val="lt1"/>
                </a:solidFill>
              </a:defRPr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lt1"/>
              </a:buClr>
              <a:buSzPts val="1000"/>
              <a:buChar char="−"/>
              <a:defRPr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737" name="Google Shape;737;g3a84205419e_2_306"/>
          <p:cNvSpPr/>
          <p:nvPr>
            <p:ph idx="2" type="pic"/>
          </p:nvPr>
        </p:nvSpPr>
        <p:spPr>
          <a:xfrm>
            <a:off x="6672262" y="0"/>
            <a:ext cx="5519737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738" name="Google Shape;738;g3a84205419e_2_306"/>
          <p:cNvSpPr txBox="1"/>
          <p:nvPr>
            <p:ph idx="3" type="body"/>
          </p:nvPr>
        </p:nvSpPr>
        <p:spPr>
          <a:xfrm>
            <a:off x="6672262" y="3717000"/>
            <a:ext cx="5519737" cy="31410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4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9pPr>
          </a:lstStyle>
          <a:p/>
        </p:txBody>
      </p:sp>
      <p:sp>
        <p:nvSpPr>
          <p:cNvPr id="739" name="Google Shape;739;g3a84205419e_2_306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740" name="Google Shape;740;g3a84205419e_2_306"/>
          <p:cNvSpPr txBox="1"/>
          <p:nvPr>
            <p:ph idx="11" type="ftr"/>
          </p:nvPr>
        </p:nvSpPr>
        <p:spPr>
          <a:xfrm>
            <a:off x="1055687" y="6453000"/>
            <a:ext cx="4752976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741" name="Google Shape;741;g3a84205419e_2_306"/>
          <p:cNvSpPr txBox="1"/>
          <p:nvPr>
            <p:ph idx="10" type="dt"/>
          </p:nvPr>
        </p:nvSpPr>
        <p:spPr>
          <a:xfrm>
            <a:off x="6888000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742" name="Google Shape;742;g3a84205419e_2_306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407988" y="669600"/>
            <a:ext cx="432000" cy="19748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3885">
          <p15:clr>
            <a:srgbClr val="F26B43"/>
          </p15:clr>
        </p15:guide>
        <p15:guide id="2" pos="4203">
          <p15:clr>
            <a:srgbClr val="F26B43"/>
          </p15:clr>
        </p15:guide>
        <p15:guide id="3" pos="665">
          <p15:clr>
            <a:srgbClr val="F26B43"/>
          </p15:clr>
        </p15:guide>
        <p15:guide id="4" pos="257">
          <p15:clr>
            <a:srgbClr val="A4A3A4"/>
          </p15:clr>
        </p15:guide>
        <p15:guide id="5" orient="horz" pos="323">
          <p15:clr>
            <a:srgbClr val="F26B43"/>
          </p15:clr>
        </p15:guide>
        <p15:guide id="6" orient="horz" pos="1117">
          <p15:clr>
            <a:srgbClr val="F26B43"/>
          </p15:clr>
        </p15:guide>
        <p15:guide id="7" orient="horz" pos="3883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Picture and Text BRIGHT">
  <p:cSld name="Picture and Text BRIGHT">
    <p:spTree>
      <p:nvGrpSpPr>
        <p:cNvPr id="743" name="Shape 7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4" name="Google Shape;744;g3a84205419e_2_318"/>
          <p:cNvSpPr/>
          <p:nvPr/>
        </p:nvSpPr>
        <p:spPr>
          <a:xfrm>
            <a:off x="0" y="0"/>
            <a:ext cx="1872000" cy="981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Fira Sans"/>
              <a:buNone/>
            </a:pPr>
            <a:r>
              <a:t/>
            </a:r>
            <a:endParaRPr b="0" sz="1600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745" name="Google Shape;745;g3a84205419e_2_318"/>
          <p:cNvSpPr/>
          <p:nvPr>
            <p:ph idx="2" type="pic"/>
          </p:nvPr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746" name="Google Shape;746;g3a84205419e_2_318"/>
          <p:cNvSpPr txBox="1"/>
          <p:nvPr>
            <p:ph idx="1" type="body"/>
          </p:nvPr>
        </p:nvSpPr>
        <p:spPr>
          <a:xfrm>
            <a:off x="0" y="3717000"/>
            <a:ext cx="12192000" cy="31410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24705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9pPr>
          </a:lstStyle>
          <a:p/>
        </p:txBody>
      </p:sp>
      <p:sp>
        <p:nvSpPr>
          <p:cNvPr id="747" name="Google Shape;747;g3a84205419e_2_318"/>
          <p:cNvSpPr txBox="1"/>
          <p:nvPr>
            <p:ph idx="3" type="body"/>
          </p:nvPr>
        </p:nvSpPr>
        <p:spPr>
          <a:xfrm>
            <a:off x="407988" y="669600"/>
            <a:ext cx="432000" cy="1944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748" name="Google Shape;748;g3a84205419e_2_318"/>
          <p:cNvSpPr txBox="1"/>
          <p:nvPr>
            <p:ph idx="4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749" name="Google Shape;749;g3a84205419e_2_318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750" name="Google Shape;750;g3a84205419e_2_318"/>
          <p:cNvSpPr txBox="1"/>
          <p:nvPr>
            <p:ph idx="5" type="body"/>
          </p:nvPr>
        </p:nvSpPr>
        <p:spPr>
          <a:xfrm>
            <a:off x="1055650" y="1773975"/>
            <a:ext cx="7920000" cy="4391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-228600" lvl="0" marL="4572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b="1" sz="2400">
                <a:solidFill>
                  <a:schemeClr val="dk2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dk1"/>
                </a:solidFill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dk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Fira Sans"/>
              <a:buNone/>
              <a:defRPr b="0" sz="1600">
                <a:solidFill>
                  <a:schemeClr val="dk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dk1"/>
                </a:solidFill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dk1"/>
                </a:solidFill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dk1"/>
                </a:solidFill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dk1"/>
                </a:solidFill>
              </a:defRPr>
            </a:lvl9pPr>
          </a:lstStyle>
          <a:p/>
        </p:txBody>
      </p:sp>
      <p:sp>
        <p:nvSpPr>
          <p:cNvPr id="751" name="Google Shape;751;g3a84205419e_2_318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752" name="Google Shape;752;g3a84205419e_2_318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753" name="Google Shape;753;g3a84205419e_2_318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754" name="Google Shape;754;g3a84205419e_2_318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5654">
          <p15:clr>
            <a:srgbClr val="F26B43"/>
          </p15:clr>
        </p15:guide>
        <p15:guide id="2" orient="horz" pos="1117">
          <p15:clr>
            <a:srgbClr val="F26B43"/>
          </p15:clr>
        </p15:guide>
        <p15:guide id="3" orient="horz" pos="3883">
          <p15:clr>
            <a:srgbClr val="F26B43"/>
          </p15:clr>
        </p15:guide>
        <p15:guide id="4" pos="665">
          <p15:clr>
            <a:srgbClr val="F26B43"/>
          </p15:clr>
        </p15:guide>
        <p15:guide id="5" orient="horz" pos="323">
          <p15:clr>
            <a:srgbClr val="F26B43"/>
          </p15:clr>
        </p15:guide>
        <p15:guide id="6" pos="7423">
          <p15:clr>
            <a:srgbClr val="A4A3A4"/>
          </p15:clr>
        </p15:guide>
        <p15:guide id="7" pos="257">
          <p15:clr>
            <a:srgbClr val="A4A3A4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Picture and Textcard BRIGHT">
  <p:cSld name="Picture and Textcard BRIGHT">
    <p:spTree>
      <p:nvGrpSpPr>
        <p:cNvPr id="755" name="Shape 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" name="Google Shape;756;g3a84205419e_2_330"/>
          <p:cNvSpPr/>
          <p:nvPr/>
        </p:nvSpPr>
        <p:spPr>
          <a:xfrm>
            <a:off x="0" y="0"/>
            <a:ext cx="1872000" cy="981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Fira Sans"/>
              <a:buNone/>
            </a:pPr>
            <a:r>
              <a:t/>
            </a:r>
            <a:endParaRPr b="0" sz="1600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757" name="Google Shape;757;g3a84205419e_2_330"/>
          <p:cNvSpPr/>
          <p:nvPr>
            <p:ph idx="2" type="pic"/>
          </p:nvPr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758" name="Google Shape;758;g3a84205419e_2_330"/>
          <p:cNvSpPr txBox="1"/>
          <p:nvPr>
            <p:ph idx="1" type="body"/>
          </p:nvPr>
        </p:nvSpPr>
        <p:spPr>
          <a:xfrm>
            <a:off x="0" y="3717000"/>
            <a:ext cx="12192000" cy="31410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4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9pPr>
          </a:lstStyle>
          <a:p/>
        </p:txBody>
      </p:sp>
      <p:sp>
        <p:nvSpPr>
          <p:cNvPr id="759" name="Google Shape;759;g3a84205419e_2_330"/>
          <p:cNvSpPr txBox="1"/>
          <p:nvPr>
            <p:ph idx="3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760" name="Google Shape;760;g3a84205419e_2_330"/>
          <p:cNvSpPr txBox="1"/>
          <p:nvPr>
            <p:ph idx="4" type="body"/>
          </p:nvPr>
        </p:nvSpPr>
        <p:spPr>
          <a:xfrm>
            <a:off x="407988" y="669600"/>
            <a:ext cx="432000" cy="1944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761" name="Google Shape;761;g3a84205419e_2_330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762" name="Google Shape;762;g3a84205419e_2_330"/>
          <p:cNvSpPr/>
          <p:nvPr>
            <p:ph idx="5" type="body"/>
          </p:nvPr>
        </p:nvSpPr>
        <p:spPr>
          <a:xfrm>
            <a:off x="7320000" y="1773000"/>
            <a:ext cx="4032000" cy="4392000"/>
          </a:xfrm>
          <a:prstGeom prst="roundRect">
            <a:avLst>
              <a:gd fmla="val 2835" name="adj"/>
            </a:avLst>
          </a:prstGeom>
          <a:solidFill>
            <a:schemeClr val="dk2"/>
          </a:solidFill>
          <a:ln>
            <a:noFill/>
          </a:ln>
        </p:spPr>
        <p:txBody>
          <a:bodyPr anchorCtr="0" anchor="t" bIns="0" lIns="216000" spcFirstLastPara="1" rIns="216000" wrap="square" tIns="21600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>
                <a:solidFill>
                  <a:schemeClr val="lt1"/>
                </a:solidFill>
              </a:defRPr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lt1"/>
              </a:buClr>
              <a:buSzPts val="1000"/>
              <a:buChar char="−"/>
              <a:defRPr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763" name="Google Shape;763;g3a84205419e_2_330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764" name="Google Shape;764;g3a84205419e_2_330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765" name="Google Shape;765;g3a84205419e_2_330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766" name="Google Shape;766;g3a84205419e_2_330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7151">
          <p15:clr>
            <a:srgbClr val="F26B43"/>
          </p15:clr>
        </p15:guide>
        <p15:guide id="2" pos="665">
          <p15:clr>
            <a:srgbClr val="F26B43"/>
          </p15:clr>
        </p15:guide>
        <p15:guide id="3" pos="257">
          <p15:clr>
            <a:srgbClr val="A4A3A4"/>
          </p15:clr>
        </p15:guide>
        <p15:guide id="4" pos="7423">
          <p15:clr>
            <a:srgbClr val="A4A3A4"/>
          </p15:clr>
        </p15:guide>
        <p15:guide id="5" orient="horz" pos="323">
          <p15:clr>
            <a:srgbClr val="F26B43"/>
          </p15:clr>
        </p15:guide>
        <p15:guide id="6" orient="horz" pos="1117">
          <p15:clr>
            <a:srgbClr val="F26B43"/>
          </p15:clr>
        </p15:guide>
        <p15:guide id="7" orient="horz" pos="3883">
          <p15:clr>
            <a:srgbClr val="F26B43"/>
          </p15:clr>
        </p15:guide>
        <p15:guide id="8" pos="461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Intro/Outro" showMasterSp="0">
  <p:cSld name="Intro/Outro">
    <p:bg>
      <p:bgPr>
        <a:solidFill>
          <a:schemeClr val="dk2"/>
        </a:solidFill>
      </p:bgPr>
    </p:bg>
    <p:spTree>
      <p:nvGrpSpPr>
        <p:cNvPr id="118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Google Shape;119;p15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4189289" y="2836289"/>
            <a:ext cx="3813423" cy="11854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Picture and Textcard DARK">
  <p:cSld name="Picture and Textcard DARK">
    <p:spTree>
      <p:nvGrpSpPr>
        <p:cNvPr id="767" name="Shape 7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" name="Google Shape;768;g3a84205419e_2_342"/>
          <p:cNvSpPr/>
          <p:nvPr/>
        </p:nvSpPr>
        <p:spPr>
          <a:xfrm>
            <a:off x="0" y="0"/>
            <a:ext cx="1872000" cy="981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Fira Sans"/>
              <a:buNone/>
            </a:pPr>
            <a:r>
              <a:t/>
            </a:r>
            <a:endParaRPr b="0" sz="1600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769" name="Google Shape;769;g3a84205419e_2_342"/>
          <p:cNvSpPr/>
          <p:nvPr>
            <p:ph idx="2" type="pic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</p:sp>
      <p:sp>
        <p:nvSpPr>
          <p:cNvPr id="770" name="Google Shape;770;g3a84205419e_2_342"/>
          <p:cNvSpPr txBox="1"/>
          <p:nvPr>
            <p:ph idx="1" type="body"/>
          </p:nvPr>
        </p:nvSpPr>
        <p:spPr>
          <a:xfrm>
            <a:off x="0" y="3717000"/>
            <a:ext cx="12192000" cy="3141001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2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None/>
              <a:defRPr/>
            </a:lvl1pPr>
            <a:lvl2pPr indent="-3429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2pPr>
            <a:lvl3pPr indent="-3429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/>
            </a:lvl6pPr>
            <a:lvl7pPr indent="-3429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7pPr>
            <a:lvl8pPr indent="-3429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8pPr>
            <a:lvl9pPr indent="-3429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800"/>
              <a:buChar char="−"/>
              <a:defRPr/>
            </a:lvl9pPr>
          </a:lstStyle>
          <a:p/>
        </p:txBody>
      </p:sp>
      <p:sp>
        <p:nvSpPr>
          <p:cNvPr id="771" name="Google Shape;771;g3a84205419e_2_342"/>
          <p:cNvSpPr txBox="1"/>
          <p:nvPr>
            <p:ph idx="3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772" name="Google Shape;772;g3a84205419e_2_342"/>
          <p:cNvSpPr txBox="1"/>
          <p:nvPr>
            <p:ph idx="4" type="body"/>
          </p:nvPr>
        </p:nvSpPr>
        <p:spPr>
          <a:xfrm>
            <a:off x="407988" y="669600"/>
            <a:ext cx="432000" cy="1944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773" name="Google Shape;773;g3a84205419e_2_342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774" name="Google Shape;774;g3a84205419e_2_342"/>
          <p:cNvSpPr/>
          <p:nvPr>
            <p:ph idx="5" type="body"/>
          </p:nvPr>
        </p:nvSpPr>
        <p:spPr>
          <a:xfrm>
            <a:off x="7320000" y="1773000"/>
            <a:ext cx="4032000" cy="4392000"/>
          </a:xfrm>
          <a:prstGeom prst="roundRect">
            <a:avLst>
              <a:gd fmla="val 2835" name="adj"/>
            </a:avLst>
          </a:prstGeom>
          <a:solidFill>
            <a:schemeClr val="lt1"/>
          </a:solidFill>
          <a:ln>
            <a:noFill/>
          </a:ln>
        </p:spPr>
        <p:txBody>
          <a:bodyPr anchorCtr="0" anchor="t" bIns="0" lIns="216000" spcFirstLastPara="1" rIns="216000" wrap="square" tIns="216000">
            <a:noAutofit/>
          </a:bodyPr>
          <a:lstStyle>
            <a:lvl1pPr indent="-3429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1pPr>
            <a:lvl2pPr indent="-3429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2pPr>
            <a:lvl3pPr indent="-3429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/>
            </a:lvl6pPr>
            <a:lvl7pPr indent="-3429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7pPr>
            <a:lvl8pPr indent="-3429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8pPr>
            <a:lvl9pPr indent="-3429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800"/>
              <a:buChar char="−"/>
              <a:defRPr/>
            </a:lvl9pPr>
          </a:lstStyle>
          <a:p/>
        </p:txBody>
      </p:sp>
      <p:sp>
        <p:nvSpPr>
          <p:cNvPr id="775" name="Google Shape;775;g3a84205419e_2_342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776" name="Google Shape;776;g3a84205419e_2_342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777" name="Google Shape;777;g3a84205419e_2_342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778" name="Google Shape;778;g3a84205419e_2_342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7151">
          <p15:clr>
            <a:srgbClr val="F26B43"/>
          </p15:clr>
        </p15:guide>
        <p15:guide id="2" pos="4611">
          <p15:clr>
            <a:srgbClr val="F26B43"/>
          </p15:clr>
        </p15:guide>
        <p15:guide id="3" pos="7423">
          <p15:clr>
            <a:srgbClr val="A4A3A4"/>
          </p15:clr>
        </p15:guide>
        <p15:guide id="4" pos="257">
          <p15:clr>
            <a:srgbClr val="A4A3A4"/>
          </p15:clr>
        </p15:guide>
        <p15:guide id="5" pos="665">
          <p15:clr>
            <a:srgbClr val="F26B43"/>
          </p15:clr>
        </p15:guide>
        <p15:guide id="6" orient="horz" pos="323">
          <p15:clr>
            <a:srgbClr val="F26B43"/>
          </p15:clr>
        </p15:guide>
        <p15:guide id="7" orient="horz" pos="1117">
          <p15:clr>
            <a:srgbClr val="F26B43"/>
          </p15:clr>
        </p15:guide>
        <p15:guide id="8" orient="horz" pos="3883">
          <p15:clr>
            <a:srgbClr val="F26B43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Claim WHITE">
  <p:cSld name="Claim WHITE">
    <p:spTree>
      <p:nvGrpSpPr>
        <p:cNvPr id="779" name="Shape 7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" name="Google Shape;780;g3a84205419e_2_354"/>
          <p:cNvSpPr txBox="1"/>
          <p:nvPr>
            <p:ph idx="1" type="body"/>
          </p:nvPr>
        </p:nvSpPr>
        <p:spPr>
          <a:xfrm>
            <a:off x="408000" y="621000"/>
            <a:ext cx="11376012" cy="554485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-228600" lvl="0" marL="4572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5000"/>
              <a:buFont typeface="Fira Sans"/>
              <a:buNone/>
              <a:defRPr b="1" sz="5000">
                <a:solidFill>
                  <a:schemeClr val="dk2"/>
                </a:solidFill>
              </a:defRPr>
            </a:lvl1pPr>
            <a:lvl2pPr indent="-228600" lvl="1" marL="9144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dk2"/>
                </a:solidFill>
              </a:defRPr>
            </a:lvl2pPr>
            <a:lvl3pPr indent="-228600" lvl="2" marL="13716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dk2"/>
                </a:solidFill>
              </a:defRPr>
            </a:lvl3pPr>
            <a:lvl4pPr indent="-228600" lvl="3" marL="18288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dk2"/>
                </a:solidFill>
              </a:defRPr>
            </a:lvl4pPr>
            <a:lvl5pPr indent="-228600" lvl="4" marL="22860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400"/>
              <a:buFont typeface="Fira Sans"/>
              <a:buNone/>
              <a:defRPr sz="44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dk2"/>
                </a:solidFill>
              </a:defRPr>
            </a:lvl6pPr>
            <a:lvl7pPr indent="-228600" lvl="6" marL="32004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dk2"/>
                </a:solidFill>
              </a:defRPr>
            </a:lvl7pPr>
            <a:lvl8pPr indent="-228600" lvl="7" marL="36576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dk2"/>
                </a:solidFill>
              </a:defRPr>
            </a:lvl8pPr>
            <a:lvl9pPr indent="-228600" lvl="8" marL="41148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dk2"/>
                </a:solidFill>
              </a:defRPr>
            </a:lvl9pPr>
          </a:lstStyle>
          <a:p/>
        </p:txBody>
      </p:sp>
      <p:sp>
        <p:nvSpPr>
          <p:cNvPr id="781" name="Google Shape;781;g3a84205419e_2_354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782" name="Google Shape;782;g3a84205419e_2_354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783" name="Google Shape;783;g3a84205419e_2_354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orient="horz" pos="3883">
          <p15:clr>
            <a:srgbClr val="F26B43"/>
          </p15:clr>
        </p15:guide>
        <p15:guide id="3" pos="257">
          <p15:clr>
            <a:srgbClr val="F26B43"/>
          </p15:clr>
        </p15:guide>
        <p15:guide id="4" pos="7423">
          <p15:clr>
            <a:srgbClr val="F26B43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Claim and Picture BRIGHT">
  <p:cSld name="Claim and Picture BRIGHT">
    <p:spTree>
      <p:nvGrpSpPr>
        <p:cNvPr id="784" name="Shape 7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5" name="Google Shape;785;g3a84205419e_2_359"/>
          <p:cNvSpPr/>
          <p:nvPr>
            <p:ph idx="2" type="pic"/>
          </p:nvPr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786" name="Google Shape;786;g3a84205419e_2_359"/>
          <p:cNvSpPr txBox="1"/>
          <p:nvPr>
            <p:ph idx="1" type="body"/>
          </p:nvPr>
        </p:nvSpPr>
        <p:spPr>
          <a:xfrm>
            <a:off x="0" y="3717000"/>
            <a:ext cx="12192000" cy="31410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4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  <a:defRPr b="0" sz="800"/>
            </a:lvl9pPr>
          </a:lstStyle>
          <a:p/>
        </p:txBody>
      </p:sp>
      <p:sp>
        <p:nvSpPr>
          <p:cNvPr id="787" name="Google Shape;787;g3a84205419e_2_359"/>
          <p:cNvSpPr txBox="1"/>
          <p:nvPr>
            <p:ph idx="3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788" name="Google Shape;788;g3a84205419e_2_359"/>
          <p:cNvSpPr txBox="1"/>
          <p:nvPr>
            <p:ph idx="4" type="body"/>
          </p:nvPr>
        </p:nvSpPr>
        <p:spPr>
          <a:xfrm>
            <a:off x="407988" y="669600"/>
            <a:ext cx="432000" cy="1944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789" name="Google Shape;789;g3a84205419e_2_359"/>
          <p:cNvSpPr txBox="1"/>
          <p:nvPr>
            <p:ph idx="5" type="body"/>
          </p:nvPr>
        </p:nvSpPr>
        <p:spPr>
          <a:xfrm>
            <a:off x="408000" y="621000"/>
            <a:ext cx="11376012" cy="554485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-228600" lvl="0" marL="4572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5000"/>
              <a:buFont typeface="Fira Sans"/>
              <a:buNone/>
              <a:defRPr b="1" sz="5000">
                <a:solidFill>
                  <a:schemeClr val="dk2"/>
                </a:solidFill>
              </a:defRPr>
            </a:lvl1pPr>
            <a:lvl2pPr indent="-228600" lvl="1" marL="9144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dk2"/>
                </a:solidFill>
              </a:defRPr>
            </a:lvl2pPr>
            <a:lvl3pPr indent="-228600" lvl="2" marL="13716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dk2"/>
                </a:solidFill>
              </a:defRPr>
            </a:lvl3pPr>
            <a:lvl4pPr indent="-228600" lvl="3" marL="18288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sz="4400">
                <a:solidFill>
                  <a:schemeClr val="dk2"/>
                </a:solidFill>
              </a:defRPr>
            </a:lvl4pPr>
            <a:lvl5pPr indent="-228600" lvl="4" marL="22860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400"/>
              <a:buFont typeface="Fira Sans"/>
              <a:buNone/>
              <a:defRPr sz="44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dk2"/>
                </a:solidFill>
              </a:defRPr>
            </a:lvl6pPr>
            <a:lvl7pPr indent="-228600" lvl="6" marL="32004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dk2"/>
                </a:solidFill>
              </a:defRPr>
            </a:lvl7pPr>
            <a:lvl8pPr indent="-228600" lvl="7" marL="36576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dk2"/>
                </a:solidFill>
              </a:defRPr>
            </a:lvl8pPr>
            <a:lvl9pPr indent="-228600" lvl="8" marL="411480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Font typeface="Fira Sans"/>
              <a:buNone/>
              <a:defRPr b="0" sz="4400">
                <a:solidFill>
                  <a:schemeClr val="dk2"/>
                </a:solidFill>
              </a:defRPr>
            </a:lvl9pPr>
          </a:lstStyle>
          <a:p/>
        </p:txBody>
      </p:sp>
      <p:sp>
        <p:nvSpPr>
          <p:cNvPr id="790" name="Google Shape;790;g3a84205419e_2_359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791" name="Google Shape;791;g3a84205419e_2_359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792" name="Google Shape;792;g3a84205419e_2_359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793" name="Google Shape;793;g3a84205419e_2_359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orient="horz" pos="3883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1_Picture and Text DARK">
  <p:cSld name="1_Picture and Text DARK">
    <p:spTree>
      <p:nvGrpSpPr>
        <p:cNvPr id="794" name="Shape 7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5" name="Google Shape;795;g3a84205419e_2_369"/>
          <p:cNvSpPr/>
          <p:nvPr/>
        </p:nvSpPr>
        <p:spPr>
          <a:xfrm>
            <a:off x="0" y="0"/>
            <a:ext cx="1872000" cy="981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Fira Sans"/>
              <a:buNone/>
            </a:pPr>
            <a:r>
              <a:t/>
            </a:r>
            <a:endParaRPr b="0" sz="1600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796" name="Google Shape;796;g3a84205419e_2_369"/>
          <p:cNvSpPr/>
          <p:nvPr>
            <p:ph idx="2" type="pic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</p:sp>
      <p:sp>
        <p:nvSpPr>
          <p:cNvPr id="797" name="Google Shape;797;g3a84205419e_2_369"/>
          <p:cNvSpPr txBox="1"/>
          <p:nvPr>
            <p:ph idx="1" type="body"/>
          </p:nvPr>
        </p:nvSpPr>
        <p:spPr>
          <a:xfrm>
            <a:off x="0" y="3717000"/>
            <a:ext cx="12192000" cy="3141001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29803"/>
                </a:srgbClr>
              </a:gs>
            </a:gsLst>
            <a:lin ang="540000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None/>
              <a:defRPr/>
            </a:lvl1pPr>
            <a:lvl2pPr indent="-3429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2pPr>
            <a:lvl3pPr indent="-3429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−"/>
              <a:defRPr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/>
            </a:lvl6pPr>
            <a:lvl7pPr indent="-3429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7pPr>
            <a:lvl8pPr indent="-3429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Char char="&gt;"/>
              <a:defRPr/>
            </a:lvl8pPr>
            <a:lvl9pPr indent="-3429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1800"/>
              <a:buChar char="−"/>
              <a:defRPr/>
            </a:lvl9pPr>
          </a:lstStyle>
          <a:p/>
        </p:txBody>
      </p:sp>
      <p:sp>
        <p:nvSpPr>
          <p:cNvPr id="798" name="Google Shape;798;g3a84205419e_2_369"/>
          <p:cNvSpPr txBox="1"/>
          <p:nvPr>
            <p:ph idx="3" type="body"/>
          </p:nvPr>
        </p:nvSpPr>
        <p:spPr>
          <a:xfrm>
            <a:off x="6156000" y="6481979"/>
            <a:ext cx="215900" cy="972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799" name="Google Shape;799;g3a84205419e_2_369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800" name="Google Shape;800;g3a84205419e_2_369"/>
          <p:cNvSpPr txBox="1"/>
          <p:nvPr>
            <p:ph idx="4" type="body"/>
          </p:nvPr>
        </p:nvSpPr>
        <p:spPr>
          <a:xfrm>
            <a:off x="1055650" y="1773975"/>
            <a:ext cx="7920000" cy="4391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-228600" lvl="0" marL="4572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b="1" sz="2400">
                <a:solidFill>
                  <a:schemeClr val="lt1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lt1"/>
                </a:solidFill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Fira Sans"/>
              <a:buNone/>
              <a:defRPr b="0" sz="1600"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801" name="Google Shape;801;g3a84205419e_2_369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802" name="Google Shape;802;g3a84205419e_2_369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803" name="Google Shape;803;g3a84205419e_2_369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804" name="Google Shape;804;g3a84205419e_2_369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  <p:pic>
        <p:nvPicPr>
          <p:cNvPr id="805" name="Google Shape;805;g3a84205419e_2_369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3" y="0"/>
            <a:ext cx="12191994" cy="685799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5654">
          <p15:clr>
            <a:srgbClr val="F26B43"/>
          </p15:clr>
        </p15:guide>
        <p15:guide id="2" pos="665">
          <p15:clr>
            <a:srgbClr val="F26B43"/>
          </p15:clr>
        </p15:guide>
        <p15:guide id="3" pos="257">
          <p15:clr>
            <a:srgbClr val="A4A3A4"/>
          </p15:clr>
        </p15:guide>
        <p15:guide id="4" pos="7423">
          <p15:clr>
            <a:srgbClr val="A4A3A4"/>
          </p15:clr>
        </p15:guide>
        <p15:guide id="5" orient="horz" pos="1117">
          <p15:clr>
            <a:srgbClr val="F26B43"/>
          </p15:clr>
        </p15:guide>
        <p15:guide id="6" orient="horz" pos="3883">
          <p15:clr>
            <a:srgbClr val="F26B43"/>
          </p15:clr>
        </p15:guide>
        <p15:guide id="7" orient="horz" pos="323">
          <p15:clr>
            <a:srgbClr val="F26B43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1_Title and Content DARK">
  <p:cSld name="1_Title and Content DARK">
    <p:spTree>
      <p:nvGrpSpPr>
        <p:cNvPr id="806" name="Shape 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7" name="Google Shape;807;g3a84205419e_2_381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pic>
        <p:nvPicPr>
          <p:cNvPr id="808" name="Google Shape;808;g3a84205419e_2_381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09" name="Google Shape;809;g3a84205419e_2_381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61559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pic>
        <p:nvPicPr>
          <p:cNvPr id="810" name="Google Shape;810;g3a84205419e_2_381"/>
          <p:cNvPicPr preferRelativeResize="0"/>
          <p:nvPr/>
        </p:nvPicPr>
        <p:blipFill rotWithShape="1">
          <a:blip r:embed="rId5">
            <a:alphaModFix/>
          </a:blip>
          <a:srcRect b="0" l="0" r="0" t="0"/>
          <a:stretch/>
        </p:blipFill>
        <p:spPr>
          <a:xfrm>
            <a:off x="11322000" y="6414338"/>
            <a:ext cx="532705" cy="210187"/>
          </a:xfrm>
          <a:prstGeom prst="rect">
            <a:avLst/>
          </a:prstGeom>
          <a:noFill/>
          <a:ln>
            <a:noFill/>
          </a:ln>
        </p:spPr>
      </p:pic>
      <p:sp>
        <p:nvSpPr>
          <p:cNvPr id="811" name="Google Shape;811;g3a84205419e_2_381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812" name="Google Shape;812;g3a84205419e_2_381"/>
          <p:cNvSpPr txBox="1"/>
          <p:nvPr>
            <p:ph idx="1" type="body"/>
          </p:nvPr>
        </p:nvSpPr>
        <p:spPr>
          <a:xfrm>
            <a:off x="1056000" y="1772388"/>
            <a:ext cx="10728000" cy="439261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1pPr>
            <a:lvl2pPr indent="-3175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&gt;"/>
              <a:defRPr>
                <a:solidFill>
                  <a:schemeClr val="lt1"/>
                </a:solidFill>
              </a:defRPr>
            </a:lvl2pPr>
            <a:lvl3pPr indent="-3175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3pPr>
            <a:lvl4pPr indent="-3175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400"/>
              <a:buChar char="−"/>
              <a:defRPr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Fira Sans"/>
              <a:buNone/>
              <a:defRPr>
                <a:solidFill>
                  <a:schemeClr val="lt1"/>
                </a:solidFill>
              </a:defRPr>
            </a:lvl6pPr>
            <a:lvl7pPr indent="-2921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7pPr>
            <a:lvl8pPr indent="-2921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lt1"/>
              </a:buClr>
              <a:buSzPts val="1000"/>
              <a:buChar char="&gt;"/>
              <a:defRPr>
                <a:solidFill>
                  <a:schemeClr val="lt1"/>
                </a:solidFill>
              </a:defRPr>
            </a:lvl8pPr>
            <a:lvl9pPr indent="-2921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lt1"/>
              </a:buClr>
              <a:buSzPts val="1000"/>
              <a:buChar char="−"/>
              <a:defRPr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813" name="Google Shape;813;g3a84205419e_2_381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814" name="Google Shape;814;g3a84205419e_2_381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815" name="Google Shape;815;g3a84205419e_2_381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816" name="Google Shape;816;g3a84205419e_2_381"/>
          <p:cNvPicPr preferRelativeResize="0"/>
          <p:nvPr/>
        </p:nvPicPr>
        <p:blipFill rotWithShape="1">
          <a:blip r:embed="rId6">
            <a:alphaModFix/>
          </a:blip>
          <a:srcRect b="0" l="0" r="0" t="0"/>
          <a:stretch/>
        </p:blipFill>
        <p:spPr>
          <a:xfrm>
            <a:off x="9" y="5"/>
            <a:ext cx="12191991" cy="685799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orient="horz" pos="1117">
          <p15:clr>
            <a:srgbClr val="F26B43"/>
          </p15:clr>
        </p15:guide>
        <p15:guide id="2" pos="665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23">
          <p15:clr>
            <a:srgbClr val="FBAE40"/>
          </p15:clr>
        </p15:guide>
        <p15:guide id="5" orient="horz" pos="3883">
          <p15:clr>
            <a:srgbClr val="F26B43"/>
          </p15:clr>
        </p15:guide>
        <p15:guide id="6" pos="257">
          <p15:clr>
            <a:srgbClr val="A4A3A4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Contact slide">
  <p:cSld name="Contact slide">
    <p:bg>
      <p:bgPr>
        <a:solidFill>
          <a:schemeClr val="dk2"/>
        </a:solidFill>
      </p:bgPr>
    </p:bg>
    <p:spTree>
      <p:nvGrpSpPr>
        <p:cNvPr id="817" name="Shape 8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8" name="Google Shape;818;g3a84205419e_2_392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61559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pic>
        <p:nvPicPr>
          <p:cNvPr id="819" name="Google Shape;819;g3a84205419e_2_392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407988" y="669600"/>
            <a:ext cx="432000" cy="197485"/>
          </a:xfrm>
          <a:prstGeom prst="rect">
            <a:avLst/>
          </a:prstGeom>
          <a:noFill/>
          <a:ln>
            <a:noFill/>
          </a:ln>
        </p:spPr>
      </p:pic>
      <p:sp>
        <p:nvSpPr>
          <p:cNvPr id="820" name="Google Shape;820;g3a84205419e_2_392"/>
          <p:cNvSpPr txBox="1"/>
          <p:nvPr>
            <p:ph type="title"/>
          </p:nvPr>
        </p:nvSpPr>
        <p:spPr>
          <a:xfrm>
            <a:off x="1056000" y="2421000"/>
            <a:ext cx="8424000" cy="3744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800"/>
              <a:buFont typeface="Fira Sans Condensed"/>
              <a:buNone/>
              <a:defRPr sz="88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821" name="Google Shape;821;g3a84205419e_2_392"/>
          <p:cNvSpPr txBox="1"/>
          <p:nvPr>
            <p:ph idx="1" type="body"/>
          </p:nvPr>
        </p:nvSpPr>
        <p:spPr>
          <a:xfrm>
            <a:off x="10199687" y="4797850"/>
            <a:ext cx="1584000" cy="136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  <a:defRPr b="0" sz="1000">
                <a:solidFill>
                  <a:schemeClr val="lt1"/>
                </a:solidFill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  <a:defRPr b="0" sz="1000">
                <a:solidFill>
                  <a:schemeClr val="lt1"/>
                </a:solidFill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  <a:defRPr b="0" sz="1000">
                <a:solidFill>
                  <a:schemeClr val="lt1"/>
                </a:solidFill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  <a:defRPr b="0" sz="1000">
                <a:solidFill>
                  <a:schemeClr val="lt1"/>
                </a:solidFill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Fira Sans"/>
              <a:buNone/>
              <a:defRPr b="0" sz="1000">
                <a:solidFill>
                  <a:schemeClr val="lt1"/>
                </a:solidFill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  <a:defRPr b="0" sz="1000">
                <a:solidFill>
                  <a:schemeClr val="lt1"/>
                </a:solidFill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  <a:defRPr b="0" sz="1000">
                <a:solidFill>
                  <a:schemeClr val="lt1"/>
                </a:solidFill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  <a:defRPr b="0" sz="1000">
                <a:solidFill>
                  <a:schemeClr val="lt1"/>
                </a:solidFill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Fira Sans"/>
              <a:buNone/>
              <a:defRPr b="0" sz="1000">
                <a:solidFill>
                  <a:schemeClr val="lt1"/>
                </a:solidFill>
              </a:defRPr>
            </a:lvl9pPr>
          </a:lstStyle>
          <a:p/>
        </p:txBody>
      </p:sp>
      <p:sp>
        <p:nvSpPr>
          <p:cNvPr id="822" name="Google Shape;822;g3a84205419e_2_392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823" name="Google Shape;823;g3a84205419e_2_392"/>
          <p:cNvSpPr txBox="1"/>
          <p:nvPr>
            <p:ph idx="11" type="ftr"/>
          </p:nvPr>
        </p:nvSpPr>
        <p:spPr>
          <a:xfrm>
            <a:off x="1055687" y="6453000"/>
            <a:ext cx="4824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sp>
        <p:nvSpPr>
          <p:cNvPr id="824" name="Google Shape;824;g3a84205419e_2_392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/>
        </p:txBody>
      </p:sp>
      <p:pic>
        <p:nvPicPr>
          <p:cNvPr id="825" name="Google Shape;825;g3a84205419e_2_392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  <p:pic>
        <p:nvPicPr>
          <p:cNvPr id="826" name="Google Shape;826;g3a84205419e_2_392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9912967" y="509517"/>
            <a:ext cx="1727034" cy="53685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6425">
          <p15:clr>
            <a:srgbClr val="A4A3A4"/>
          </p15:clr>
        </p15:guide>
        <p15:guide id="2" orient="horz" pos="1525">
          <p15:clr>
            <a:srgbClr val="F26B43"/>
          </p15:clr>
        </p15:guide>
        <p15:guide id="3" pos="5972">
          <p15:clr>
            <a:srgbClr val="F26B43"/>
          </p15:clr>
        </p15:guide>
        <p15:guide id="4" pos="665">
          <p15:clr>
            <a:srgbClr val="F26B43"/>
          </p15:clr>
        </p15:guide>
        <p15:guide id="5" orient="horz" pos="3883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leslide" showMasterSp="0">
  <p:cSld name="Titleslide">
    <p:spTree>
      <p:nvGrpSpPr>
        <p:cNvPr id="120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Google Shape;121;p16"/>
          <p:cNvSpPr txBox="1"/>
          <p:nvPr>
            <p:ph type="title"/>
          </p:nvPr>
        </p:nvSpPr>
        <p:spPr>
          <a:xfrm>
            <a:off x="768001" y="1269000"/>
            <a:ext cx="8280750" cy="1800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200"/>
              <a:buFont typeface="Fira Sans Condensed"/>
              <a:buNone/>
              <a:defRPr sz="5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22" name="Google Shape;122;p16"/>
          <p:cNvSpPr txBox="1"/>
          <p:nvPr>
            <p:ph idx="1" type="subTitle"/>
          </p:nvPr>
        </p:nvSpPr>
        <p:spPr>
          <a:xfrm>
            <a:off x="768001" y="3213000"/>
            <a:ext cx="8280749" cy="1872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9pPr>
          </a:lstStyle>
          <a:p/>
        </p:txBody>
      </p:sp>
      <p:sp>
        <p:nvSpPr>
          <p:cNvPr id="123" name="Google Shape;123;p16"/>
          <p:cNvSpPr txBox="1"/>
          <p:nvPr>
            <p:ph idx="2" type="body"/>
          </p:nvPr>
        </p:nvSpPr>
        <p:spPr>
          <a:xfrm>
            <a:off x="768349" y="6381100"/>
            <a:ext cx="8280401" cy="216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pic>
        <p:nvPicPr>
          <p:cNvPr id="124" name="Google Shape;124;p16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4080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125" name="Google Shape;125;p16"/>
          <p:cNvSpPr txBox="1"/>
          <p:nvPr>
            <p:ph idx="3" type="body"/>
          </p:nvPr>
        </p:nvSpPr>
        <p:spPr>
          <a:xfrm>
            <a:off x="10920000" y="5445000"/>
            <a:ext cx="720000" cy="7200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pic>
        <p:nvPicPr>
          <p:cNvPr id="126" name="Google Shape;126;p16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9912967" y="509517"/>
            <a:ext cx="1727034" cy="53685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7332">
          <p15:clr>
            <a:srgbClr val="FBAE40"/>
          </p15:clr>
        </p15:guide>
        <p15:guide id="2" pos="484">
          <p15:clr>
            <a:srgbClr val="FBAE40"/>
          </p15:clr>
        </p15:guide>
        <p15:guide id="3" orient="horz" pos="2024">
          <p15:clr>
            <a:srgbClr val="FBAE40"/>
          </p15:clr>
        </p15:guide>
        <p15:guide id="4" orient="horz" pos="193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itleslide GRADIENT" showMasterSp="0">
  <p:cSld name="Titleslide GRADIENT">
    <p:spTree>
      <p:nvGrpSpPr>
        <p:cNvPr id="127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Google Shape;128;p17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9" name="Google Shape;129;p17"/>
          <p:cNvSpPr txBox="1"/>
          <p:nvPr>
            <p:ph type="title"/>
          </p:nvPr>
        </p:nvSpPr>
        <p:spPr>
          <a:xfrm>
            <a:off x="768001" y="1269000"/>
            <a:ext cx="8280750" cy="1800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Font typeface="Fira Sans Condensed"/>
              <a:buNone/>
              <a:defRPr sz="52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30" name="Google Shape;130;p17"/>
          <p:cNvSpPr txBox="1"/>
          <p:nvPr>
            <p:ph idx="1" type="subTitle"/>
          </p:nvPr>
        </p:nvSpPr>
        <p:spPr>
          <a:xfrm>
            <a:off x="768001" y="3213000"/>
            <a:ext cx="8280749" cy="1872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sz="2400">
                <a:solidFill>
                  <a:schemeClr val="lt1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9pPr>
          </a:lstStyle>
          <a:p/>
        </p:txBody>
      </p:sp>
      <p:sp>
        <p:nvSpPr>
          <p:cNvPr id="131" name="Google Shape;131;p17"/>
          <p:cNvSpPr txBox="1"/>
          <p:nvPr>
            <p:ph idx="2" type="body"/>
          </p:nvPr>
        </p:nvSpPr>
        <p:spPr>
          <a:xfrm>
            <a:off x="768349" y="6381100"/>
            <a:ext cx="8280401" cy="216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  <a:defRPr b="0" sz="9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132" name="Google Shape;132;p17"/>
          <p:cNvSpPr txBox="1"/>
          <p:nvPr>
            <p:ph idx="3" type="body"/>
          </p:nvPr>
        </p:nvSpPr>
        <p:spPr>
          <a:xfrm>
            <a:off x="407988" y="6481979"/>
            <a:ext cx="215900" cy="972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769" l="0" r="0" t="-768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1pPr>
            <a:lvl2pPr indent="-228600" lvl="1" marL="914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2pPr>
            <a:lvl3pPr indent="-228600" lvl="2" marL="1371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3pPr>
            <a:lvl4pPr indent="-228600" lvl="3" marL="1828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4pPr>
            <a:lvl5pPr indent="-228600" lvl="4" marL="22860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400"/>
              <a:buFont typeface="Fira Sans"/>
              <a:buNone/>
              <a:defRPr b="0" sz="400"/>
            </a:lvl5pPr>
            <a:lvl6pPr indent="-228600" lvl="5" marL="27432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6pPr>
            <a:lvl7pPr indent="-228600" lvl="6" marL="32004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7pPr>
            <a:lvl8pPr indent="-228600" lvl="7" marL="3657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400"/>
              <a:buFont typeface="Fira Sans"/>
              <a:buNone/>
              <a:defRPr b="0" sz="400"/>
            </a:lvl8pPr>
            <a:lvl9pPr indent="-228600" lvl="8" marL="411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ts val="400"/>
              <a:buFont typeface="Fira Sans"/>
              <a:buNone/>
              <a:defRPr b="0" sz="400"/>
            </a:lvl9pPr>
          </a:lstStyle>
          <a:p/>
        </p:txBody>
      </p:sp>
      <p:sp>
        <p:nvSpPr>
          <p:cNvPr id="133" name="Google Shape;133;p17"/>
          <p:cNvSpPr txBox="1"/>
          <p:nvPr>
            <p:ph idx="4" type="body"/>
          </p:nvPr>
        </p:nvSpPr>
        <p:spPr>
          <a:xfrm>
            <a:off x="10920000" y="5445000"/>
            <a:ext cx="72000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1pPr>
            <a:lvl2pPr indent="-228600" lvl="1" marL="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2pPr>
            <a:lvl3pPr indent="-228600" lvl="2" marL="1371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3pPr>
            <a:lvl4pPr indent="-228600" lvl="3" marL="1828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4pPr>
            <a:lvl5pPr indent="-228600" lvl="4" marL="2286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5pPr>
            <a:lvl6pPr indent="-228600" lvl="5" marL="274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6pPr>
            <a:lvl7pPr indent="-228600" lvl="6" marL="3200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7pPr>
            <a:lvl8pPr indent="-228600" lvl="7" marL="3657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8pPr>
            <a:lvl9pPr indent="-228600" lvl="8" marL="411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  <a:defRPr b="0" sz="600"/>
            </a:lvl9pPr>
          </a:lstStyle>
          <a:p/>
        </p:txBody>
      </p:sp>
      <p:pic>
        <p:nvPicPr>
          <p:cNvPr id="134" name="Google Shape;134;p17"/>
          <p:cNvPicPr preferRelativeResize="0"/>
          <p:nvPr/>
        </p:nvPicPr>
        <p:blipFill rotWithShape="1">
          <a:blip r:embed="rId5">
            <a:alphaModFix/>
          </a:blip>
          <a:srcRect b="0" l="0" r="0" t="0"/>
          <a:stretch/>
        </p:blipFill>
        <p:spPr>
          <a:xfrm>
            <a:off x="9912967" y="509517"/>
            <a:ext cx="1727034" cy="53685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7332">
          <p15:clr>
            <a:srgbClr val="FBAE40"/>
          </p15:clr>
        </p15:guide>
        <p15:guide id="2" pos="484">
          <p15:clr>
            <a:srgbClr val="FBAE40"/>
          </p15:clr>
        </p15:guide>
        <p15:guide id="3" orient="horz" pos="2024">
          <p15:clr>
            <a:srgbClr val="FBAE40"/>
          </p15:clr>
        </p15:guide>
        <p15:guide id="4" orient="horz" pos="193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<Relationships xmlns="http://schemas.openxmlformats.org/package/2006/relationships"><Relationship Id="rId40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18.xml"/><Relationship Id="rId41" Type="http://schemas.openxmlformats.org/officeDocument/2006/relationships/theme" Target="../theme/theme2.xml"/><Relationship Id="rId22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1.xml"/><Relationship Id="rId1" Type="http://schemas.openxmlformats.org/officeDocument/2006/relationships/image" Target="../media/image4.png"/><Relationship Id="rId2" Type="http://schemas.openxmlformats.org/officeDocument/2006/relationships/image" Target="../media/image12.png"/><Relationship Id="rId3" Type="http://schemas.openxmlformats.org/officeDocument/2006/relationships/slideLayout" Target="../slideLayouts/slideLayout1.xml"/><Relationship Id="rId4" Type="http://schemas.openxmlformats.org/officeDocument/2006/relationships/slideLayout" Target="../slideLayouts/slideLayout2.xml"/><Relationship Id="rId9" Type="http://schemas.openxmlformats.org/officeDocument/2006/relationships/slideLayout" Target="../slideLayouts/slideLayout7.xml"/><Relationship Id="rId26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5.xml"/><Relationship Id="rId5" Type="http://schemas.openxmlformats.org/officeDocument/2006/relationships/slideLayout" Target="../slideLayouts/slideLayout3.xml"/><Relationship Id="rId6" Type="http://schemas.openxmlformats.org/officeDocument/2006/relationships/slideLayout" Target="../slideLayouts/slideLayout4.xml"/><Relationship Id="rId29" Type="http://schemas.openxmlformats.org/officeDocument/2006/relationships/slideLayout" Target="../slideLayouts/slideLayout27.xml"/><Relationship Id="rId7" Type="http://schemas.openxmlformats.org/officeDocument/2006/relationships/slideLayout" Target="../slideLayouts/slideLayout5.xml"/><Relationship Id="rId8" Type="http://schemas.openxmlformats.org/officeDocument/2006/relationships/slideLayout" Target="../slideLayouts/slideLayout6.xml"/><Relationship Id="rId31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9.xml"/><Relationship Id="rId33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8.xml"/><Relationship Id="rId32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11.xml"/><Relationship Id="rId35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10.xml"/><Relationship Id="rId34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13.xml"/><Relationship Id="rId37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12.xml"/><Relationship Id="rId36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15.xml"/><Relationship Id="rId39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14.xml"/><Relationship Id="rId38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6.xml"/></Relationships>
</file>

<file path=ppt/slideMasters/_rels/slideMaster2.xml.rels><?xml version="1.0" encoding="UTF-8" standalone="yes"?><Relationships xmlns="http://schemas.openxmlformats.org/package/2006/relationships"><Relationship Id="rId40" Type="http://schemas.openxmlformats.org/officeDocument/2006/relationships/theme" Target="../theme/theme3.xml"/><Relationship Id="rId20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59.xml"/><Relationship Id="rId1" Type="http://schemas.openxmlformats.org/officeDocument/2006/relationships/image" Target="../media/image4.png"/><Relationship Id="rId2" Type="http://schemas.openxmlformats.org/officeDocument/2006/relationships/image" Target="../media/image32.png"/><Relationship Id="rId3" Type="http://schemas.openxmlformats.org/officeDocument/2006/relationships/slideLayout" Target="../slideLayouts/slideLayout39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3.xml"/><Relationship Id="rId5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2.xml"/><Relationship Id="rId29" Type="http://schemas.openxmlformats.org/officeDocument/2006/relationships/slideLayout" Target="../slideLayouts/slideLayout65.xml"/><Relationship Id="rId7" Type="http://schemas.openxmlformats.org/officeDocument/2006/relationships/slideLayout" Target="../slideLayouts/slideLayout43.xml"/><Relationship Id="rId8" Type="http://schemas.openxmlformats.org/officeDocument/2006/relationships/slideLayout" Target="../slideLayouts/slideLayout44.xml"/><Relationship Id="rId31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47.xml"/><Relationship Id="rId33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46.xml"/><Relationship Id="rId32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49.xml"/><Relationship Id="rId35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48.xml"/><Relationship Id="rId34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51.xml"/><Relationship Id="rId37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50.xml"/><Relationship Id="rId36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53.xml"/><Relationship Id="rId39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52.xml"/><Relationship Id="rId38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bg>
      <p:bgPr>
        <a:solidFill>
          <a:schemeClr val="lt1"/>
        </a:solidFill>
      </p:bgPr>
    </p:bg>
    <p:spTree>
      <p:nvGrpSpPr>
        <p:cNvPr id="9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oogle Shape;10;p8"/>
          <p:cNvGrpSpPr/>
          <p:nvPr/>
        </p:nvGrpSpPr>
        <p:grpSpPr>
          <a:xfrm>
            <a:off x="-168688" y="-171204"/>
            <a:ext cx="11952688" cy="6336508"/>
            <a:chOff x="-168688" y="-171204"/>
            <a:chExt cx="11952688" cy="6336508"/>
          </a:xfrm>
        </p:grpSpPr>
        <p:cxnSp>
          <p:nvCxnSpPr>
            <p:cNvPr id="11" name="Google Shape;11;p8"/>
            <p:cNvCxnSpPr/>
            <p:nvPr/>
          </p:nvCxnSpPr>
          <p:spPr>
            <a:xfrm>
              <a:off x="-168688" y="1773238"/>
              <a:ext cx="72000" cy="0"/>
            </a:xfrm>
            <a:prstGeom prst="straightConnector1">
              <a:avLst/>
            </a:prstGeom>
            <a:noFill/>
            <a:ln cap="flat" cmpd="sng" w="12700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12" name="Google Shape;12;p8"/>
            <p:cNvCxnSpPr/>
            <p:nvPr/>
          </p:nvCxnSpPr>
          <p:spPr>
            <a:xfrm>
              <a:off x="-168688" y="6165304"/>
              <a:ext cx="72000" cy="0"/>
            </a:xfrm>
            <a:prstGeom prst="straightConnector1">
              <a:avLst/>
            </a:prstGeom>
            <a:noFill/>
            <a:ln cap="flat" cmpd="sng" w="12700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13" name="Google Shape;13;p8"/>
            <p:cNvCxnSpPr/>
            <p:nvPr/>
          </p:nvCxnSpPr>
          <p:spPr>
            <a:xfrm>
              <a:off x="1055440" y="-171196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14" name="Google Shape;14;p8"/>
            <p:cNvCxnSpPr/>
            <p:nvPr/>
          </p:nvCxnSpPr>
          <p:spPr>
            <a:xfrm>
              <a:off x="4296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15" name="Google Shape;15;p8"/>
            <p:cNvCxnSpPr/>
            <p:nvPr/>
          </p:nvCxnSpPr>
          <p:spPr>
            <a:xfrm>
              <a:off x="573596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16" name="Google Shape;16;p8"/>
            <p:cNvCxnSpPr/>
            <p:nvPr/>
          </p:nvCxnSpPr>
          <p:spPr>
            <a:xfrm>
              <a:off x="6168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17" name="Google Shape;17;p8"/>
            <p:cNvCxnSpPr/>
            <p:nvPr/>
          </p:nvCxnSpPr>
          <p:spPr>
            <a:xfrm>
              <a:off x="7608168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18" name="Google Shape;18;p8"/>
            <p:cNvCxnSpPr/>
            <p:nvPr/>
          </p:nvCxnSpPr>
          <p:spPr>
            <a:xfrm>
              <a:off x="8040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19" name="Google Shape;19;p8"/>
            <p:cNvCxnSpPr/>
            <p:nvPr/>
          </p:nvCxnSpPr>
          <p:spPr>
            <a:xfrm>
              <a:off x="11784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20" name="Google Shape;20;p8"/>
            <p:cNvCxnSpPr/>
            <p:nvPr/>
          </p:nvCxnSpPr>
          <p:spPr>
            <a:xfrm>
              <a:off x="1488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21" name="Google Shape;21;p8"/>
            <p:cNvCxnSpPr/>
            <p:nvPr/>
          </p:nvCxnSpPr>
          <p:spPr>
            <a:xfrm>
              <a:off x="1991544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22" name="Google Shape;22;p8"/>
            <p:cNvCxnSpPr/>
            <p:nvPr/>
          </p:nvCxnSpPr>
          <p:spPr>
            <a:xfrm>
              <a:off x="2424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23" name="Google Shape;23;p8"/>
            <p:cNvCxnSpPr/>
            <p:nvPr/>
          </p:nvCxnSpPr>
          <p:spPr>
            <a:xfrm>
              <a:off x="2927648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24" name="Google Shape;24;p8"/>
            <p:cNvCxnSpPr/>
            <p:nvPr/>
          </p:nvCxnSpPr>
          <p:spPr>
            <a:xfrm>
              <a:off x="3360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25" name="Google Shape;25;p8"/>
            <p:cNvCxnSpPr/>
            <p:nvPr/>
          </p:nvCxnSpPr>
          <p:spPr>
            <a:xfrm>
              <a:off x="3863752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26" name="Google Shape;26;p8"/>
            <p:cNvCxnSpPr/>
            <p:nvPr/>
          </p:nvCxnSpPr>
          <p:spPr>
            <a:xfrm>
              <a:off x="4799856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27" name="Google Shape;27;p8"/>
            <p:cNvCxnSpPr/>
            <p:nvPr/>
          </p:nvCxnSpPr>
          <p:spPr>
            <a:xfrm>
              <a:off x="5232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28" name="Google Shape;28;p8"/>
            <p:cNvCxnSpPr/>
            <p:nvPr/>
          </p:nvCxnSpPr>
          <p:spPr>
            <a:xfrm>
              <a:off x="6672064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29" name="Google Shape;29;p8"/>
            <p:cNvCxnSpPr/>
            <p:nvPr/>
          </p:nvCxnSpPr>
          <p:spPr>
            <a:xfrm>
              <a:off x="7104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30" name="Google Shape;30;p8"/>
            <p:cNvCxnSpPr/>
            <p:nvPr/>
          </p:nvCxnSpPr>
          <p:spPr>
            <a:xfrm>
              <a:off x="8544272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31" name="Google Shape;31;p8"/>
            <p:cNvCxnSpPr/>
            <p:nvPr/>
          </p:nvCxnSpPr>
          <p:spPr>
            <a:xfrm>
              <a:off x="8976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32" name="Google Shape;32;p8"/>
            <p:cNvCxnSpPr/>
            <p:nvPr/>
          </p:nvCxnSpPr>
          <p:spPr>
            <a:xfrm>
              <a:off x="9480376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33" name="Google Shape;33;p8"/>
            <p:cNvCxnSpPr/>
            <p:nvPr/>
          </p:nvCxnSpPr>
          <p:spPr>
            <a:xfrm>
              <a:off x="9912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34" name="Google Shape;34;p8"/>
            <p:cNvCxnSpPr/>
            <p:nvPr/>
          </p:nvCxnSpPr>
          <p:spPr>
            <a:xfrm>
              <a:off x="1041648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35" name="Google Shape;35;p8"/>
            <p:cNvCxnSpPr/>
            <p:nvPr/>
          </p:nvCxnSpPr>
          <p:spPr>
            <a:xfrm>
              <a:off x="10848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36" name="Google Shape;36;p8"/>
            <p:cNvCxnSpPr/>
            <p:nvPr/>
          </p:nvCxnSpPr>
          <p:spPr>
            <a:xfrm>
              <a:off x="11352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sp>
          <p:nvSpPr>
            <p:cNvPr id="37" name="Google Shape;37;p8"/>
            <p:cNvSpPr/>
            <p:nvPr/>
          </p:nvSpPr>
          <p:spPr>
            <a:xfrm>
              <a:off x="1056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38" name="Google Shape;38;p8"/>
            <p:cNvSpPr/>
            <p:nvPr/>
          </p:nvSpPr>
          <p:spPr>
            <a:xfrm>
              <a:off x="1992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39" name="Google Shape;39;p8"/>
            <p:cNvSpPr/>
            <p:nvPr/>
          </p:nvSpPr>
          <p:spPr>
            <a:xfrm>
              <a:off x="2928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40" name="Google Shape;40;p8"/>
            <p:cNvSpPr/>
            <p:nvPr/>
          </p:nvSpPr>
          <p:spPr>
            <a:xfrm>
              <a:off x="3864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41" name="Google Shape;41;p8"/>
            <p:cNvSpPr/>
            <p:nvPr/>
          </p:nvSpPr>
          <p:spPr>
            <a:xfrm>
              <a:off x="4800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42" name="Google Shape;42;p8"/>
            <p:cNvSpPr/>
            <p:nvPr/>
          </p:nvSpPr>
          <p:spPr>
            <a:xfrm>
              <a:off x="5736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43" name="Google Shape;43;p8"/>
            <p:cNvSpPr/>
            <p:nvPr/>
          </p:nvSpPr>
          <p:spPr>
            <a:xfrm>
              <a:off x="6672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44" name="Google Shape;44;p8"/>
            <p:cNvSpPr/>
            <p:nvPr/>
          </p:nvSpPr>
          <p:spPr>
            <a:xfrm>
              <a:off x="7608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45" name="Google Shape;45;p8"/>
            <p:cNvSpPr/>
            <p:nvPr/>
          </p:nvSpPr>
          <p:spPr>
            <a:xfrm>
              <a:off x="8544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46" name="Google Shape;46;p8"/>
            <p:cNvSpPr/>
            <p:nvPr/>
          </p:nvSpPr>
          <p:spPr>
            <a:xfrm>
              <a:off x="9480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47" name="Google Shape;47;p8"/>
            <p:cNvSpPr/>
            <p:nvPr/>
          </p:nvSpPr>
          <p:spPr>
            <a:xfrm>
              <a:off x="10416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48" name="Google Shape;48;p8"/>
            <p:cNvSpPr/>
            <p:nvPr/>
          </p:nvSpPr>
          <p:spPr>
            <a:xfrm>
              <a:off x="11352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</p:grpSp>
      <p:sp>
        <p:nvSpPr>
          <p:cNvPr id="49" name="Google Shape;49;p8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  <a:defRPr b="1" i="0" sz="3400" u="none" cap="none" strike="noStrike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/>
        </p:txBody>
      </p:sp>
      <p:sp>
        <p:nvSpPr>
          <p:cNvPr id="50" name="Google Shape;50;p8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Noto Sans Symbol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Noto Sans Symbol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Noto Sans Symbol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Noto Sans Symbol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51" name="Google Shape;51;p8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Noto Sans Symbol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Noto Sans Symbol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Noto Sans Symbol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Noto Sans Symbol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pic>
        <p:nvPicPr>
          <p:cNvPr id="52" name="Google Shape;52;p8"/>
          <p:cNvPicPr preferRelativeResize="0"/>
          <p:nvPr/>
        </p:nvPicPr>
        <p:blipFill rotWithShape="1">
          <a:blip r:embed="rId1">
            <a:alphaModFix/>
          </a:blip>
          <a:srcRect b="0" l="0" r="0" t="0"/>
          <a:stretch/>
        </p:blipFill>
        <p:spPr>
          <a:xfrm>
            <a:off x="6154406" y="647562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53" name="Google Shape;53;p8"/>
          <p:cNvSpPr txBox="1"/>
          <p:nvPr>
            <p:ph idx="12" type="sldNum"/>
          </p:nvPr>
        </p:nvSpPr>
        <p:spPr>
          <a:xfrm>
            <a:off x="408000" y="6453000"/>
            <a:ext cx="504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54" name="Google Shape;54;p8"/>
          <p:cNvSpPr txBox="1"/>
          <p:nvPr>
            <p:ph idx="1" type="body"/>
          </p:nvPr>
        </p:nvSpPr>
        <p:spPr>
          <a:xfrm>
            <a:off x="1055999" y="1772999"/>
            <a:ext cx="10728013" cy="4391263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Char char="&gt;"/>
              <a:defRPr b="0" i="0" sz="14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317500" lvl="1" marL="914400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Char char="&gt;"/>
              <a:defRPr b="0" i="0" sz="14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317500" lvl="2" marL="1371600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−"/>
              <a:defRPr b="0" i="0" sz="14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317500" lvl="3" marL="1828800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−"/>
              <a:defRPr b="0" i="0" sz="14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marR="0" rtl="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None/>
              <a:defRPr b="1" i="0" sz="16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  <a:defRPr b="0" i="0" sz="14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92100" lvl="6" marL="3200400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Char char="&gt;"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92100" lvl="7" marL="3657600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Char char="&gt;"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92100" lvl="8" marL="4114800" marR="0" rtl="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2"/>
              </a:buClr>
              <a:buSzPts val="1000"/>
              <a:buFont typeface="Noto Sans Symbols"/>
              <a:buChar char="−"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pic>
        <p:nvPicPr>
          <p:cNvPr id="55" name="Google Shape;55;p8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  <p:pic>
        <p:nvPicPr>
          <p:cNvPr id="56" name="Google Shape;56;p8"/>
          <p:cNvPicPr preferRelativeResize="0"/>
          <p:nvPr/>
        </p:nvPicPr>
        <p:blipFill rotWithShape="1">
          <a:blip r:embed="rId1">
            <a:alphaModFix/>
          </a:blip>
          <a:srcRect b="0" l="0" r="0" t="0"/>
          <a:stretch/>
        </p:blipFill>
        <p:spPr>
          <a:xfrm>
            <a:off x="407988" y="669600"/>
            <a:ext cx="432000" cy="197485"/>
          </a:xfrm>
          <a:prstGeom prst="rect">
            <a:avLst/>
          </a:prstGeom>
          <a:noFill/>
          <a:ln>
            <a:noFill/>
          </a:ln>
        </p:spPr>
      </p:pic>
    </p:spTree>
  </p:cSld>
  <p:clrMap accent1="accent1" accent2="accent2" accent3="accent3" accent4="accent4" accent5="accent5" accent6="accent6" bg1="lt1" bg2="dk2" tx1="dk1" tx2="lt2" folHlink="folHlink" hlink="hlink"/>
  <p:sldLayoutIdLst>
    <p:sldLayoutId id="2147483649" r:id="rId3"/>
    <p:sldLayoutId id="2147483650" r:id="rId4"/>
    <p:sldLayoutId id="2147483651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3660" r:id="rId14"/>
    <p:sldLayoutId id="2147483661" r:id="rId15"/>
    <p:sldLayoutId id="2147483662" r:id="rId16"/>
    <p:sldLayoutId id="2147483663" r:id="rId17"/>
    <p:sldLayoutId id="2147483664" r:id="rId18"/>
    <p:sldLayoutId id="2147483665" r:id="rId19"/>
    <p:sldLayoutId id="2147483666" r:id="rId20"/>
    <p:sldLayoutId id="2147483667" r:id="rId21"/>
    <p:sldLayoutId id="2147483668" r:id="rId22"/>
    <p:sldLayoutId id="2147483669" r:id="rId23"/>
    <p:sldLayoutId id="2147483670" r:id="rId24"/>
    <p:sldLayoutId id="2147483671" r:id="rId25"/>
    <p:sldLayoutId id="2147483672" r:id="rId26"/>
    <p:sldLayoutId id="2147483673" r:id="rId27"/>
    <p:sldLayoutId id="2147483674" r:id="rId28"/>
    <p:sldLayoutId id="2147483675" r:id="rId29"/>
    <p:sldLayoutId id="2147483676" r:id="rId30"/>
    <p:sldLayoutId id="2147483677" r:id="rId31"/>
    <p:sldLayoutId id="2147483678" r:id="rId32"/>
    <p:sldLayoutId id="2147483679" r:id="rId33"/>
    <p:sldLayoutId id="2147483680" r:id="rId34"/>
    <p:sldLayoutId id="2147483681" r:id="rId35"/>
    <p:sldLayoutId id="2147483682" r:id="rId36"/>
    <p:sldLayoutId id="2147483683" r:id="rId37"/>
    <p:sldLayoutId id="2147483684" r:id="rId38"/>
    <p:sldLayoutId id="2147483685" r:id="rId39"/>
    <p:sldLayoutId id="2147483686" r:id="rId40"/>
  </p:sldLayoutIdLst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hf dt="0" ftr="0" hdr="0"/>
  <p:txStyles>
    <p:title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bg>
      <p:bgPr>
        <a:solidFill>
          <a:schemeClr val="lt1"/>
        </a:solidFill>
      </p:bgPr>
    </p:bg>
    <p:spTree>
      <p:nvGrpSpPr>
        <p:cNvPr id="425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6" name="Google Shape;426;g3a84205419e_2_0"/>
          <p:cNvGrpSpPr/>
          <p:nvPr/>
        </p:nvGrpSpPr>
        <p:grpSpPr>
          <a:xfrm>
            <a:off x="-168688" y="-171204"/>
            <a:ext cx="11952688" cy="6336508"/>
            <a:chOff x="-168688" y="-171204"/>
            <a:chExt cx="11952688" cy="6336508"/>
          </a:xfrm>
        </p:grpSpPr>
        <p:cxnSp>
          <p:nvCxnSpPr>
            <p:cNvPr id="427" name="Google Shape;427;g3a84205419e_2_0"/>
            <p:cNvCxnSpPr/>
            <p:nvPr/>
          </p:nvCxnSpPr>
          <p:spPr>
            <a:xfrm>
              <a:off x="-168688" y="1773238"/>
              <a:ext cx="72000" cy="0"/>
            </a:xfrm>
            <a:prstGeom prst="straightConnector1">
              <a:avLst/>
            </a:prstGeom>
            <a:noFill/>
            <a:ln cap="flat" cmpd="sng" w="12700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28" name="Google Shape;428;g3a84205419e_2_0"/>
            <p:cNvCxnSpPr/>
            <p:nvPr/>
          </p:nvCxnSpPr>
          <p:spPr>
            <a:xfrm>
              <a:off x="-168688" y="6165304"/>
              <a:ext cx="72000" cy="0"/>
            </a:xfrm>
            <a:prstGeom prst="straightConnector1">
              <a:avLst/>
            </a:prstGeom>
            <a:noFill/>
            <a:ln cap="flat" cmpd="sng" w="12700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29" name="Google Shape;429;g3a84205419e_2_0"/>
            <p:cNvCxnSpPr/>
            <p:nvPr/>
          </p:nvCxnSpPr>
          <p:spPr>
            <a:xfrm>
              <a:off x="1055440" y="-171196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30" name="Google Shape;430;g3a84205419e_2_0"/>
            <p:cNvCxnSpPr/>
            <p:nvPr/>
          </p:nvCxnSpPr>
          <p:spPr>
            <a:xfrm>
              <a:off x="4296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31" name="Google Shape;431;g3a84205419e_2_0"/>
            <p:cNvCxnSpPr/>
            <p:nvPr/>
          </p:nvCxnSpPr>
          <p:spPr>
            <a:xfrm>
              <a:off x="573596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32" name="Google Shape;432;g3a84205419e_2_0"/>
            <p:cNvCxnSpPr/>
            <p:nvPr/>
          </p:nvCxnSpPr>
          <p:spPr>
            <a:xfrm>
              <a:off x="6168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33" name="Google Shape;433;g3a84205419e_2_0"/>
            <p:cNvCxnSpPr/>
            <p:nvPr/>
          </p:nvCxnSpPr>
          <p:spPr>
            <a:xfrm>
              <a:off x="7608168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34" name="Google Shape;434;g3a84205419e_2_0"/>
            <p:cNvCxnSpPr/>
            <p:nvPr/>
          </p:nvCxnSpPr>
          <p:spPr>
            <a:xfrm>
              <a:off x="8040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35" name="Google Shape;435;g3a84205419e_2_0"/>
            <p:cNvCxnSpPr/>
            <p:nvPr/>
          </p:nvCxnSpPr>
          <p:spPr>
            <a:xfrm>
              <a:off x="11784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36" name="Google Shape;436;g3a84205419e_2_0"/>
            <p:cNvCxnSpPr/>
            <p:nvPr/>
          </p:nvCxnSpPr>
          <p:spPr>
            <a:xfrm>
              <a:off x="1488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37" name="Google Shape;437;g3a84205419e_2_0"/>
            <p:cNvCxnSpPr/>
            <p:nvPr/>
          </p:nvCxnSpPr>
          <p:spPr>
            <a:xfrm>
              <a:off x="1991544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38" name="Google Shape;438;g3a84205419e_2_0"/>
            <p:cNvCxnSpPr/>
            <p:nvPr/>
          </p:nvCxnSpPr>
          <p:spPr>
            <a:xfrm>
              <a:off x="2424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39" name="Google Shape;439;g3a84205419e_2_0"/>
            <p:cNvCxnSpPr/>
            <p:nvPr/>
          </p:nvCxnSpPr>
          <p:spPr>
            <a:xfrm>
              <a:off x="2927648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40" name="Google Shape;440;g3a84205419e_2_0"/>
            <p:cNvCxnSpPr/>
            <p:nvPr/>
          </p:nvCxnSpPr>
          <p:spPr>
            <a:xfrm>
              <a:off x="3360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41" name="Google Shape;441;g3a84205419e_2_0"/>
            <p:cNvCxnSpPr/>
            <p:nvPr/>
          </p:nvCxnSpPr>
          <p:spPr>
            <a:xfrm>
              <a:off x="3863752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42" name="Google Shape;442;g3a84205419e_2_0"/>
            <p:cNvCxnSpPr/>
            <p:nvPr/>
          </p:nvCxnSpPr>
          <p:spPr>
            <a:xfrm>
              <a:off x="4799856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43" name="Google Shape;443;g3a84205419e_2_0"/>
            <p:cNvCxnSpPr/>
            <p:nvPr/>
          </p:nvCxnSpPr>
          <p:spPr>
            <a:xfrm>
              <a:off x="5232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44" name="Google Shape;444;g3a84205419e_2_0"/>
            <p:cNvCxnSpPr/>
            <p:nvPr/>
          </p:nvCxnSpPr>
          <p:spPr>
            <a:xfrm>
              <a:off x="6672064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45" name="Google Shape;445;g3a84205419e_2_0"/>
            <p:cNvCxnSpPr/>
            <p:nvPr/>
          </p:nvCxnSpPr>
          <p:spPr>
            <a:xfrm>
              <a:off x="7104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46" name="Google Shape;446;g3a84205419e_2_0"/>
            <p:cNvCxnSpPr/>
            <p:nvPr/>
          </p:nvCxnSpPr>
          <p:spPr>
            <a:xfrm>
              <a:off x="8544272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47" name="Google Shape;447;g3a84205419e_2_0"/>
            <p:cNvCxnSpPr/>
            <p:nvPr/>
          </p:nvCxnSpPr>
          <p:spPr>
            <a:xfrm>
              <a:off x="8976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48" name="Google Shape;448;g3a84205419e_2_0"/>
            <p:cNvCxnSpPr/>
            <p:nvPr/>
          </p:nvCxnSpPr>
          <p:spPr>
            <a:xfrm>
              <a:off x="9480376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49" name="Google Shape;449;g3a84205419e_2_0"/>
            <p:cNvCxnSpPr/>
            <p:nvPr/>
          </p:nvCxnSpPr>
          <p:spPr>
            <a:xfrm>
              <a:off x="9912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50" name="Google Shape;450;g3a84205419e_2_0"/>
            <p:cNvCxnSpPr/>
            <p:nvPr/>
          </p:nvCxnSpPr>
          <p:spPr>
            <a:xfrm>
              <a:off x="1041648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51" name="Google Shape;451;g3a84205419e_2_0"/>
            <p:cNvCxnSpPr/>
            <p:nvPr/>
          </p:nvCxnSpPr>
          <p:spPr>
            <a:xfrm>
              <a:off x="10848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cxnSp>
          <p:nvCxnSpPr>
            <p:cNvPr id="452" name="Google Shape;452;g3a84205419e_2_0"/>
            <p:cNvCxnSpPr/>
            <p:nvPr/>
          </p:nvCxnSpPr>
          <p:spPr>
            <a:xfrm>
              <a:off x="11352000" y="-171204"/>
              <a:ext cx="0" cy="72000"/>
            </a:xfrm>
            <a:prstGeom prst="straightConnector1">
              <a:avLst/>
            </a:prstGeom>
            <a:noFill/>
            <a:ln cap="flat" cmpd="sng" w="9525">
              <a:solidFill>
                <a:schemeClr val="accent3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sp>
          <p:nvSpPr>
            <p:cNvPr id="453" name="Google Shape;453;g3a84205419e_2_0"/>
            <p:cNvSpPr/>
            <p:nvPr/>
          </p:nvSpPr>
          <p:spPr>
            <a:xfrm>
              <a:off x="1056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454" name="Google Shape;454;g3a84205419e_2_0"/>
            <p:cNvSpPr/>
            <p:nvPr/>
          </p:nvSpPr>
          <p:spPr>
            <a:xfrm>
              <a:off x="1992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455" name="Google Shape;455;g3a84205419e_2_0"/>
            <p:cNvSpPr/>
            <p:nvPr/>
          </p:nvSpPr>
          <p:spPr>
            <a:xfrm>
              <a:off x="2928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456" name="Google Shape;456;g3a84205419e_2_0"/>
            <p:cNvSpPr/>
            <p:nvPr/>
          </p:nvSpPr>
          <p:spPr>
            <a:xfrm>
              <a:off x="3864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457" name="Google Shape;457;g3a84205419e_2_0"/>
            <p:cNvSpPr/>
            <p:nvPr/>
          </p:nvSpPr>
          <p:spPr>
            <a:xfrm>
              <a:off x="4800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458" name="Google Shape;458;g3a84205419e_2_0"/>
            <p:cNvSpPr/>
            <p:nvPr/>
          </p:nvSpPr>
          <p:spPr>
            <a:xfrm>
              <a:off x="5736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459" name="Google Shape;459;g3a84205419e_2_0"/>
            <p:cNvSpPr/>
            <p:nvPr/>
          </p:nvSpPr>
          <p:spPr>
            <a:xfrm>
              <a:off x="6672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460" name="Google Shape;460;g3a84205419e_2_0"/>
            <p:cNvSpPr/>
            <p:nvPr/>
          </p:nvSpPr>
          <p:spPr>
            <a:xfrm>
              <a:off x="7608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461" name="Google Shape;461;g3a84205419e_2_0"/>
            <p:cNvSpPr/>
            <p:nvPr/>
          </p:nvSpPr>
          <p:spPr>
            <a:xfrm>
              <a:off x="8544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462" name="Google Shape;462;g3a84205419e_2_0"/>
            <p:cNvSpPr/>
            <p:nvPr/>
          </p:nvSpPr>
          <p:spPr>
            <a:xfrm>
              <a:off x="9480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463" name="Google Shape;463;g3a84205419e_2_0"/>
            <p:cNvSpPr/>
            <p:nvPr/>
          </p:nvSpPr>
          <p:spPr>
            <a:xfrm>
              <a:off x="10416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  <p:sp>
          <p:nvSpPr>
            <p:cNvPr id="464" name="Google Shape;464;g3a84205419e_2_0"/>
            <p:cNvSpPr/>
            <p:nvPr/>
          </p:nvSpPr>
          <p:spPr>
            <a:xfrm>
              <a:off x="11352000" y="-171000"/>
              <a:ext cx="432000" cy="72000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800"/>
                <a:buFont typeface="Fira Sans"/>
                <a:buNone/>
              </a:pPr>
              <a:r>
                <a:rPr b="0" i="0" lang="it-IT" sz="800" u="none" cap="none" strike="noStrike">
                  <a:solidFill>
                    <a:schemeClr val="accent3"/>
                  </a:solidFill>
                  <a:latin typeface="Fira Sans"/>
                  <a:ea typeface="Fira Sans"/>
                  <a:cs typeface="Fira Sans"/>
                  <a:sym typeface="Fira Sans"/>
                </a:rPr>
                <a:t>1,2 cm</a:t>
              </a:r>
              <a:endParaRPr/>
            </a:p>
          </p:txBody>
        </p:sp>
      </p:grpSp>
      <p:sp>
        <p:nvSpPr>
          <p:cNvPr id="465" name="Google Shape;465;g3a84205419e_2_0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  <a:defRPr b="1" i="0" sz="3400" u="none" cap="none" strike="noStrike">
                <a:solidFill>
                  <a:schemeClr val="dk2"/>
                </a:solidFill>
                <a:latin typeface="Fira Sans Condensed"/>
                <a:ea typeface="Fira Sans Condensed"/>
                <a:cs typeface="Fira Sans Condensed"/>
                <a:sym typeface="Fira Sans Condense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/>
        </p:txBody>
      </p:sp>
      <p:sp>
        <p:nvSpPr>
          <p:cNvPr id="466" name="Google Shape;466;g3a84205419e_2_0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Noto Sans Symbol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Noto Sans Symbol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Noto Sans Symbol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Noto Sans Symbol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sp>
        <p:nvSpPr>
          <p:cNvPr id="467" name="Google Shape;467;g3a84205419e_2_0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lv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lvl="1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lvl="2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Noto Sans Symbol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lvl="3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Noto Sans Symbol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lvl="4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Noto Sans Symbol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lvl="5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lvl="6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lvl="7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lvl="8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Noto Sans Symbols"/>
              <a:buNone/>
              <a:defRPr b="0" i="0" sz="9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pic>
        <p:nvPicPr>
          <p:cNvPr id="468" name="Google Shape;468;g3a84205419e_2_0"/>
          <p:cNvPicPr preferRelativeResize="0"/>
          <p:nvPr/>
        </p:nvPicPr>
        <p:blipFill rotWithShape="1">
          <a:blip r:embed="rId1">
            <a:alphaModFix/>
          </a:blip>
          <a:srcRect b="0" l="0" r="0" t="0"/>
          <a:stretch/>
        </p:blipFill>
        <p:spPr>
          <a:xfrm>
            <a:off x="6154406" y="647562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469" name="Google Shape;469;g3a84205419e_2_0"/>
          <p:cNvSpPr txBox="1"/>
          <p:nvPr>
            <p:ph idx="12" type="sldNum"/>
          </p:nvPr>
        </p:nvSpPr>
        <p:spPr>
          <a:xfrm>
            <a:off x="408000" y="6453000"/>
            <a:ext cx="504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>
            <a:lvl1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0" lvl="1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0" lvl="2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0" lvl="3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0" lvl="4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0" lvl="5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0" lvl="6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0" lvl="7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0" lvl="8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Fira Sans"/>
              <a:buNone/>
              <a:defRPr b="0" i="0" sz="9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470" name="Google Shape;470;g3a84205419e_2_0"/>
          <p:cNvSpPr txBox="1"/>
          <p:nvPr>
            <p:ph idx="1" type="body"/>
          </p:nvPr>
        </p:nvSpPr>
        <p:spPr>
          <a:xfrm>
            <a:off x="1055999" y="1772999"/>
            <a:ext cx="10728013" cy="4391263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Char char="&gt;"/>
              <a:defRPr b="0" i="0" sz="14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indent="-317500" lvl="1" marL="914400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Char char="&gt;"/>
              <a:defRPr b="0" i="0" sz="14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indent="-317500" lvl="2" marL="1371600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−"/>
              <a:defRPr b="0" i="0" sz="14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indent="-317500" lvl="3" marL="1828800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−"/>
              <a:defRPr b="0" i="0" sz="14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indent="-228600" lvl="4" marL="2286000" marR="0" rtl="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None/>
              <a:defRPr b="1" i="0" sz="1600" u="none" cap="none" strike="noStrike">
                <a:solidFill>
                  <a:schemeClr val="dk2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indent="-228600" lvl="5" marL="2743200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  <a:defRPr b="0" i="0" sz="14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indent="-292100" lvl="6" marL="3200400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Char char="&gt;"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indent="-292100" lvl="7" marL="3657600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Char char="&gt;"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indent="-292100" lvl="8" marL="4114800" marR="0" rtl="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2"/>
              </a:buClr>
              <a:buSzPts val="1000"/>
              <a:buFont typeface="Noto Sans Symbols"/>
              <a:buChar char="−"/>
              <a:defRPr b="0" i="0" sz="1000" u="none" cap="none" strike="noStrike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/>
        </p:txBody>
      </p:sp>
      <p:pic>
        <p:nvPicPr>
          <p:cNvPr id="471" name="Google Shape;471;g3a84205419e_2_0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11329447" y="6455796"/>
            <a:ext cx="454240" cy="141203"/>
          </a:xfrm>
          <a:prstGeom prst="rect">
            <a:avLst/>
          </a:prstGeom>
          <a:noFill/>
          <a:ln>
            <a:noFill/>
          </a:ln>
        </p:spPr>
      </p:pic>
      <p:pic>
        <p:nvPicPr>
          <p:cNvPr id="472" name="Google Shape;472;g3a84205419e_2_0"/>
          <p:cNvPicPr preferRelativeResize="0"/>
          <p:nvPr/>
        </p:nvPicPr>
        <p:blipFill rotWithShape="1">
          <a:blip r:embed="rId1">
            <a:alphaModFix/>
          </a:blip>
          <a:srcRect b="0" l="0" r="0" t="0"/>
          <a:stretch/>
        </p:blipFill>
        <p:spPr>
          <a:xfrm>
            <a:off x="407988" y="669600"/>
            <a:ext cx="432000" cy="197485"/>
          </a:xfrm>
          <a:prstGeom prst="rect">
            <a:avLst/>
          </a:prstGeom>
          <a:noFill/>
          <a:ln>
            <a:noFill/>
          </a:ln>
        </p:spPr>
      </p:pic>
    </p:spTree>
  </p:cSld>
  <p:clrMap accent1="accent1" accent2="accent2" accent3="accent3" accent4="accent4" accent5="accent5" accent6="accent6" bg1="lt1" bg2="dk2" tx1="dk1" tx2="lt2" folHlink="folHlink" hlink="hlink"/>
  <p:sldLayoutIdLst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  <p:sldLayoutId id="2147483708" r:id="rId23"/>
    <p:sldLayoutId id="2147483709" r:id="rId24"/>
    <p:sldLayoutId id="2147483710" r:id="rId25"/>
    <p:sldLayoutId id="2147483711" r:id="rId26"/>
    <p:sldLayoutId id="2147483712" r:id="rId27"/>
    <p:sldLayoutId id="2147483713" r:id="rId28"/>
    <p:sldLayoutId id="2147483714" r:id="rId29"/>
    <p:sldLayoutId id="2147483715" r:id="rId30"/>
    <p:sldLayoutId id="2147483716" r:id="rId31"/>
    <p:sldLayoutId id="2147483717" r:id="rId32"/>
    <p:sldLayoutId id="2147483718" r:id="rId33"/>
    <p:sldLayoutId id="2147483719" r:id="rId34"/>
    <p:sldLayoutId id="2147483720" r:id="rId35"/>
    <p:sldLayoutId id="2147483721" r:id="rId36"/>
    <p:sldLayoutId id="2147483722" r:id="rId37"/>
    <p:sldLayoutId id="2147483723" r:id="rId38"/>
    <p:sldLayoutId id="2147483724" r:id="rId39"/>
  </p:sldLayoutIdLst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hf dt="0" ftr="0" hdr="0"/>
  <p:txStyles>
    <p:title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1.png"/></Relationships>
</file>

<file path=ppt/slides/_rels/slide10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3.xml"/></Relationships>
</file>

<file path=ppt/slides/_rels/slide14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42.xml"/><Relationship Id="rId2" Type="http://schemas.openxmlformats.org/officeDocument/2006/relationships/notesSlide" Target="../notesSlides/notesSlide14.xml"/></Relationships>
</file>

<file path=ppt/slides/_rels/slide15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62.png"/></Relationships>
</file>

<file path=ppt/slides/_rels/slide16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38.xml"/><Relationship Id="rId2" Type="http://schemas.openxmlformats.org/officeDocument/2006/relationships/notesSlide" Target="../notesSlides/notesSlide16.xml"/></Relationships>
</file>

<file path=ppt/slides/_rels/slide17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54.png"/></Relationships>
</file>

<file path=ppt/slides/_rels/slide18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8.xml"/><Relationship Id="rId3" Type="http://schemas.openxmlformats.org/officeDocument/2006/relationships/image" Target="../media/image57.png"/></Relationships>
</file>

<file path=ppt/slides/_rels/slide19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9.xml"/><Relationship Id="rId3" Type="http://schemas.openxmlformats.org/officeDocument/2006/relationships/image" Target="../media/image59.png"/></Relationships>
</file>

<file path=ppt/slides/_rels/slide2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51.png"/><Relationship Id="rId4" Type="http://schemas.openxmlformats.org/officeDocument/2006/relationships/image" Target="../media/image52.png"/><Relationship Id="rId5" Type="http://schemas.openxmlformats.org/officeDocument/2006/relationships/image" Target="../media/image45.png"/><Relationship Id="rId6" Type="http://schemas.openxmlformats.org/officeDocument/2006/relationships/image" Target="../media/image43.png"/><Relationship Id="rId7" Type="http://schemas.openxmlformats.org/officeDocument/2006/relationships/image" Target="../media/image60.png"/></Relationships>
</file>

<file path=ppt/slides/_rels/slide20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0.xml"/><Relationship Id="rId3" Type="http://schemas.openxmlformats.org/officeDocument/2006/relationships/image" Target="../media/image56.png"/></Relationships>
</file>

<file path=ppt/slides/_rels/slide21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42.xml"/><Relationship Id="rId2" Type="http://schemas.openxmlformats.org/officeDocument/2006/relationships/notesSlide" Target="../notesSlides/notesSlide21.xml"/><Relationship Id="rId3" Type="http://schemas.openxmlformats.org/officeDocument/2006/relationships/image" Target="../media/image5.png"/></Relationships>
</file>

<file path=ppt/slides/_rels/slide22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42.xml"/><Relationship Id="rId2" Type="http://schemas.openxmlformats.org/officeDocument/2006/relationships/notesSlide" Target="../notesSlides/notesSlide22.xml"/><Relationship Id="rId3" Type="http://schemas.openxmlformats.org/officeDocument/2006/relationships/image" Target="../media/image5.png"/></Relationships>
</file>

<file path=ppt/slides/_rels/slide23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23.xml"/></Relationships>
</file>

<file path=ppt/slides/_rels/slide24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24.xml"/><Relationship Id="rId3" Type="http://schemas.openxmlformats.org/officeDocument/2006/relationships/image" Target="../media/image64.png"/></Relationships>
</file>

<file path=ppt/slides/_rels/slide25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25.xml"/><Relationship Id="rId3" Type="http://schemas.openxmlformats.org/officeDocument/2006/relationships/image" Target="../media/image53.png"/></Relationships>
</file>

<file path=ppt/slides/_rels/slide26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6.xml"/><Relationship Id="rId3" Type="http://schemas.openxmlformats.org/officeDocument/2006/relationships/image" Target="../media/image55.png"/></Relationships>
</file>

<file path=ppt/slides/_rels/slide3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38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4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44.png"/><Relationship Id="rId4" Type="http://schemas.openxmlformats.org/officeDocument/2006/relationships/image" Target="../media/image50.png"/><Relationship Id="rId5" Type="http://schemas.openxmlformats.org/officeDocument/2006/relationships/image" Target="../media/image48.png"/><Relationship Id="rId6" Type="http://schemas.openxmlformats.org/officeDocument/2006/relationships/image" Target="../media/image46.png"/><Relationship Id="rId7" Type="http://schemas.openxmlformats.org/officeDocument/2006/relationships/image" Target="../media/image42.png"/></Relationships>
</file>

<file path=ppt/slides/_rels/slide5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49.png"/></Relationships>
</file>

<file path=ppt/slides/_rels/slide6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42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63.png"/></Relationships>
</file>

<file path=ppt/slides/_rels/slide8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58.png"/><Relationship Id="rId4" Type="http://schemas.openxmlformats.org/officeDocument/2006/relationships/image" Target="../media/image49.png"/><Relationship Id="rId5" Type="http://schemas.openxmlformats.org/officeDocument/2006/relationships/image" Target="../media/image61.png"/></Relationships>
</file>

<file path=ppt/slides/_rels/slide9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38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830" name="Shape 8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1" name="Google Shape;831;p1"/>
          <p:cNvSpPr txBox="1"/>
          <p:nvPr>
            <p:ph type="title"/>
          </p:nvPr>
        </p:nvSpPr>
        <p:spPr>
          <a:xfrm>
            <a:off x="768001" y="1269000"/>
            <a:ext cx="8280750" cy="1800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rmAutofit/>
          </a:bodyPr>
          <a:lstStyle/>
          <a:p>
            <a:pPr indent="0" lvl="0" marL="0" rt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Font typeface="Fira Sans Condensed"/>
              <a:buNone/>
            </a:pPr>
            <a:r>
              <a:rPr lang="it-IT"/>
              <a:t>Prototyping with AI</a:t>
            </a:r>
            <a:endParaRPr/>
          </a:p>
        </p:txBody>
      </p:sp>
      <p:sp>
        <p:nvSpPr>
          <p:cNvPr id="832" name="Google Shape;832;p1"/>
          <p:cNvSpPr txBox="1"/>
          <p:nvPr>
            <p:ph idx="1" type="subTitle"/>
          </p:nvPr>
        </p:nvSpPr>
        <p:spPr>
          <a:xfrm>
            <a:off x="768001" y="3213000"/>
            <a:ext cx="8280749" cy="1872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rm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it-IT"/>
              <a:t>Rethinking Discovery</a:t>
            </a:r>
            <a:endParaRPr/>
          </a:p>
        </p:txBody>
      </p:sp>
      <p:sp>
        <p:nvSpPr>
          <p:cNvPr id="833" name="Google Shape;833;p1"/>
          <p:cNvSpPr txBox="1"/>
          <p:nvPr>
            <p:ph idx="2" type="body"/>
          </p:nvPr>
        </p:nvSpPr>
        <p:spPr>
          <a:xfrm>
            <a:off x="768349" y="6381100"/>
            <a:ext cx="8280401" cy="216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t/>
            </a:r>
            <a:endParaRPr/>
          </a:p>
        </p:txBody>
      </p:sp>
      <p:sp>
        <p:nvSpPr>
          <p:cNvPr id="834" name="Google Shape;834;p1"/>
          <p:cNvSpPr txBox="1"/>
          <p:nvPr>
            <p:ph idx="3" type="body"/>
          </p:nvPr>
        </p:nvSpPr>
        <p:spPr>
          <a:xfrm>
            <a:off x="10920000" y="5445000"/>
            <a:ext cx="720000" cy="7200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b="-430" l="0" r="0" t="-431"/>
            </a:stretch>
          </a:blip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"/>
              <a:buFont typeface="Fira Sans"/>
              <a:buNone/>
            </a:pPr>
            <a:r>
              <a:t/>
            </a:r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963" name="Shape 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4" name="Google Shape;964;g3a84205419e_0_66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Quando servono questi strumenti</a:t>
            </a:r>
            <a:endParaRPr/>
          </a:p>
        </p:txBody>
      </p:sp>
      <p:sp>
        <p:nvSpPr>
          <p:cNvPr id="965" name="Google Shape;965;g3a84205419e_0_66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Fira Sans"/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966" name="Google Shape;966;g3a84205419e_0_66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967" name="Google Shape;967;g3a84205419e_0_66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22/11/25</a:t>
            </a:r>
            <a:endParaRPr/>
          </a:p>
        </p:txBody>
      </p:sp>
      <p:sp>
        <p:nvSpPr>
          <p:cNvPr id="968" name="Google Shape;968;g3a84205419e_0_66"/>
          <p:cNvSpPr txBox="1"/>
          <p:nvPr>
            <p:ph idx="1" type="body"/>
          </p:nvPr>
        </p:nvSpPr>
        <p:spPr>
          <a:xfrm>
            <a:off x="1055700" y="2201908"/>
            <a:ext cx="3239700" cy="29457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200"/>
              </a:spcBef>
              <a:spcAft>
                <a:spcPts val="0"/>
              </a:spcAft>
              <a:buNone/>
            </a:pPr>
            <a:r>
              <a:rPr lang="it-IT" sz="1700"/>
              <a:t>Nel percorso di sviluppo di un nuovo business, la fase iniziale con il cliente è spesso fatta di interviste e conversazioni in cui i bisogni reali non sono ancora ben definiti. </a:t>
            </a:r>
            <a:endParaRPr sz="17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rtl="0" algn="l">
              <a:spcBef>
                <a:spcPts val="200"/>
              </a:spcBef>
              <a:spcAft>
                <a:spcPts val="200"/>
              </a:spcAft>
              <a:buNone/>
            </a:pPr>
            <a:r>
              <a:t/>
            </a:r>
            <a:endParaRPr sz="1700"/>
          </a:p>
        </p:txBody>
      </p:sp>
      <p:sp>
        <p:nvSpPr>
          <p:cNvPr id="969" name="Google Shape;969;g3a84205419e_0_66"/>
          <p:cNvSpPr txBox="1"/>
          <p:nvPr>
            <p:ph idx="2" type="body"/>
          </p:nvPr>
        </p:nvSpPr>
        <p:spPr>
          <a:xfrm>
            <a:off x="4799532" y="2201908"/>
            <a:ext cx="3239700" cy="29457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200"/>
              </a:spcBef>
              <a:spcAft>
                <a:spcPts val="200"/>
              </a:spcAft>
              <a:buNone/>
            </a:pPr>
            <a:r>
              <a:rPr lang="it-IT" sz="1700"/>
              <a:t>Solo nel momento in cui si ha l’incarico per sviluppare il prodotto si parte con creazione di wireframe , mockup, Figma, etc…</a:t>
            </a:r>
            <a:endParaRPr/>
          </a:p>
        </p:txBody>
      </p:sp>
      <p:sp>
        <p:nvSpPr>
          <p:cNvPr id="970" name="Google Shape;970;g3a84205419e_0_66"/>
          <p:cNvSpPr txBox="1"/>
          <p:nvPr>
            <p:ph idx="3" type="body"/>
          </p:nvPr>
        </p:nvSpPr>
        <p:spPr>
          <a:xfrm>
            <a:off x="8543949" y="2201621"/>
            <a:ext cx="3239700" cy="29457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200"/>
              </a:spcBef>
              <a:spcAft>
                <a:spcPts val="0"/>
              </a:spcAft>
              <a:buNone/>
            </a:pPr>
            <a:r>
              <a:rPr lang="it-IT" sz="1700"/>
              <a:t>Ora p</a:t>
            </a:r>
            <a:r>
              <a:rPr lang="it-IT" sz="1700"/>
              <a:t>ossiamo generare prototipi funzionanti in breve tempo, permettendo al cliente di visualizzare concretamente le proprie idee e chiarirle molto più rapidamente. </a:t>
            </a:r>
            <a:endParaRPr sz="1700"/>
          </a:p>
          <a:p>
            <a:pPr indent="0" lvl="0" marL="0" rtl="0" algn="l">
              <a:spcBef>
                <a:spcPts val="200"/>
              </a:spcBef>
              <a:spcAft>
                <a:spcPts val="200"/>
              </a:spcAft>
              <a:buNone/>
            </a:pPr>
            <a:r>
              <a:rPr lang="it-IT" sz="1700"/>
              <a:t>Non si tratta più solo di ipotesi, ma di un’esperienza diretta e interattiva che accelera comprensione, allineamento e valore.</a:t>
            </a:r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974" name="Shape 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" name="Google Shape;975;g3a84205419e_0_88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Ai al servizio dell’agilità</a:t>
            </a:r>
            <a:endParaRPr/>
          </a:p>
        </p:txBody>
      </p:sp>
      <p:sp>
        <p:nvSpPr>
          <p:cNvPr id="976" name="Google Shape;976;g3a84205419e_0_88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977" name="Google Shape;977;g3a84205419e_0_88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978" name="Google Shape;978;g3a84205419e_0_88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22/11/25</a:t>
            </a:r>
            <a:endParaRPr/>
          </a:p>
        </p:txBody>
      </p:sp>
      <p:sp>
        <p:nvSpPr>
          <p:cNvPr id="979" name="Google Shape;979;g3a84205419e_0_88"/>
          <p:cNvSpPr txBox="1"/>
          <p:nvPr>
            <p:ph idx="2" type="body"/>
          </p:nvPr>
        </p:nvSpPr>
        <p:spPr>
          <a:xfrm>
            <a:off x="1281604" y="2201900"/>
            <a:ext cx="9516000" cy="29457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ctr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t/>
            </a:r>
            <a:endParaRPr sz="1700"/>
          </a:p>
          <a:p>
            <a:pPr indent="0" lvl="0" marL="0" rtl="0" algn="ctr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it-IT" sz="1700"/>
              <a:t>In questa evoluzione rivedo l'essenza del </a:t>
            </a:r>
            <a:r>
              <a:rPr b="1" lang="it-IT" sz="1700"/>
              <a:t>Manifesto Agile</a:t>
            </a:r>
            <a:r>
              <a:rPr lang="it-IT" sz="1700"/>
              <a:t>. </a:t>
            </a:r>
            <a:endParaRPr sz="1700"/>
          </a:p>
          <a:p>
            <a:pPr indent="0" lvl="0" marL="0" rtl="0" algn="ctr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it-IT" sz="1700"/>
              <a:t>Dai prototipi generati da AI emergono dalle conversazioni, alimentano il dialogo continuo tra team e stakeholder, trasformando ogni feedback in un'opportunità di iterazione immediata.</a:t>
            </a:r>
            <a:endParaRPr sz="1700"/>
          </a:p>
          <a:p>
            <a:pPr indent="0" lvl="0" marL="0" rtl="0" algn="ctr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t/>
            </a:r>
            <a:endParaRPr sz="1700"/>
          </a:p>
          <a:p>
            <a:pPr indent="0" lvl="0" marL="0" rtl="0" algn="ctr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it-IT" sz="1700"/>
              <a:t>Anche se incompleti, anche se grezzi, questi artefatti digitali generano un valore tangibile e immediato: permettono di toccare con mano un'idea, di sperimentarla dando valore alla predominanza del </a:t>
            </a:r>
            <a:r>
              <a:rPr b="1" lang="it-IT" sz="1700"/>
              <a:t>"software funzionante"</a:t>
            </a:r>
            <a:r>
              <a:rPr lang="it-IT" sz="1700"/>
              <a:t> rispetto alla </a:t>
            </a:r>
            <a:r>
              <a:rPr b="1" lang="it-IT" sz="1700"/>
              <a:t>“documentazione”</a:t>
            </a:r>
            <a:endParaRPr b="1" sz="1700"/>
          </a:p>
          <a:p>
            <a:pPr indent="0" lvl="0" marL="0" rtl="0" algn="ctr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t/>
            </a:r>
            <a:endParaRPr b="1" sz="1700"/>
          </a:p>
          <a:p>
            <a:pPr indent="0" lvl="0" marL="0" rtl="0" algn="ctr">
              <a:spcBef>
                <a:spcPts val="200"/>
              </a:spcBef>
              <a:spcAft>
                <a:spcPts val="200"/>
              </a:spcAft>
              <a:buNone/>
            </a:pPr>
            <a:r>
              <a:t/>
            </a:r>
            <a:endParaRPr sz="1700"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983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g3aaba1d86ca_2_3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Ai al servizio dell’agilità</a:t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t/>
            </a:r>
            <a:endParaRPr/>
          </a:p>
        </p:txBody>
      </p:sp>
      <p:sp>
        <p:nvSpPr>
          <p:cNvPr id="985" name="Google Shape;985;g3aaba1d86ca_2_3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986" name="Google Shape;986;g3aaba1d86ca_2_3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987" name="Google Shape;987;g3aaba1d86ca_2_3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22/11/25</a:t>
            </a:r>
            <a:endParaRPr/>
          </a:p>
        </p:txBody>
      </p:sp>
      <p:sp>
        <p:nvSpPr>
          <p:cNvPr id="988" name="Google Shape;988;g3aaba1d86ca_2_3"/>
          <p:cNvSpPr txBox="1"/>
          <p:nvPr>
            <p:ph idx="2" type="body"/>
          </p:nvPr>
        </p:nvSpPr>
        <p:spPr>
          <a:xfrm>
            <a:off x="1281604" y="2201900"/>
            <a:ext cx="9516000" cy="29457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ctr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t/>
            </a:r>
            <a:endParaRPr sz="1700"/>
          </a:p>
          <a:p>
            <a:pPr indent="0" lvl="0" marL="0" rtl="0" algn="ctr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it-IT" sz="2000"/>
              <a:t>“Il software funzionante più che la documentazione esaustiva”</a:t>
            </a:r>
            <a:endParaRPr sz="2000"/>
          </a:p>
          <a:p>
            <a:pPr indent="0" lvl="0" marL="0" rtl="0" algn="ctr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it-IT" sz="2000"/>
              <a:t>“La collaborazione col cliente più che la negoziazione dei contratti”</a:t>
            </a:r>
            <a:endParaRPr sz="2000"/>
          </a:p>
          <a:p>
            <a:pPr indent="0" lvl="0" marL="0" rtl="0" algn="l">
              <a:spcBef>
                <a:spcPts val="200"/>
              </a:spcBef>
              <a:spcAft>
                <a:spcPts val="200"/>
              </a:spcAft>
              <a:buNone/>
            </a:pPr>
            <a:r>
              <a:t/>
            </a:r>
            <a:endParaRPr sz="2000"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992" name="Shape 9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" name="Google Shape;993;g3a8d1f6c51f_12_44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Quando servono questi strumenti</a:t>
            </a:r>
            <a:endParaRPr/>
          </a:p>
        </p:txBody>
      </p:sp>
      <p:sp>
        <p:nvSpPr>
          <p:cNvPr id="994" name="Google Shape;994;g3a8d1f6c51f_12_44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995" name="Google Shape;995;g3a8d1f6c51f_12_44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996" name="Google Shape;996;g3a8d1f6c51f_12_44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22/11/25</a:t>
            </a:r>
            <a:endParaRPr/>
          </a:p>
        </p:txBody>
      </p:sp>
      <p:sp>
        <p:nvSpPr>
          <p:cNvPr id="997" name="Google Shape;997;g3a8d1f6c51f_12_44"/>
          <p:cNvSpPr txBox="1"/>
          <p:nvPr>
            <p:ph idx="2" type="body"/>
          </p:nvPr>
        </p:nvSpPr>
        <p:spPr>
          <a:xfrm>
            <a:off x="1281604" y="2201900"/>
            <a:ext cx="9516000" cy="29457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ctr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t/>
            </a:r>
            <a:endParaRPr sz="1700"/>
          </a:p>
          <a:p>
            <a:pPr indent="0" lvl="0" marL="0" rtl="0" algn="ctr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b="1" lang="it-IT" sz="1700"/>
              <a:t>“è possibile includere la documentazione nel prototipo in modo da avere chiaro quello che viene implementato ed i flussi seguiti dall’applicazione”</a:t>
            </a:r>
            <a:endParaRPr b="1" sz="1700"/>
          </a:p>
          <a:p>
            <a:pPr indent="0" lvl="0" marL="0" rtl="0" algn="ctr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t/>
            </a:r>
            <a:endParaRPr b="1" sz="1700"/>
          </a:p>
          <a:p>
            <a:pPr indent="0" lvl="0" marL="0" rtl="0" algn="ctr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t/>
            </a:r>
            <a:endParaRPr b="1" sz="1700"/>
          </a:p>
          <a:p>
            <a:pPr indent="0" lvl="0" marL="0" rtl="0" algn="ctr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t/>
            </a:r>
            <a:endParaRPr b="1" sz="1700"/>
          </a:p>
          <a:p>
            <a:pPr indent="0" lvl="0" marL="0" rtl="0" algn="ctr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t/>
            </a:r>
            <a:endParaRPr b="1" sz="1700"/>
          </a:p>
          <a:p>
            <a:pPr indent="0" lvl="0" marL="0" rtl="0" algn="ctr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t/>
            </a:r>
            <a:endParaRPr sz="1700"/>
          </a:p>
          <a:p>
            <a:pPr indent="0" lvl="0" marL="0" rtl="0" algn="ctr">
              <a:spcBef>
                <a:spcPts val="200"/>
              </a:spcBef>
              <a:spcAft>
                <a:spcPts val="200"/>
              </a:spcAft>
              <a:buNone/>
            </a:pPr>
            <a:r>
              <a:t/>
            </a:r>
            <a:endParaRPr sz="1700"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1004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g3a8f18422b6_5_0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190500" rtl="0" algn="l">
              <a:lnSpc>
                <a:spcPct val="115000"/>
              </a:lnSpc>
              <a:spcBef>
                <a:spcPts val="0"/>
              </a:spcBef>
              <a:spcAft>
                <a:spcPts val="150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it-IT" sz="3600">
                <a:solidFill>
                  <a:srgbClr val="F5F5F5"/>
                </a:solidFill>
                <a:latin typeface="Arial"/>
                <a:ea typeface="Arial"/>
                <a:cs typeface="Arial"/>
                <a:sym typeface="Arial"/>
              </a:rPr>
              <a:t>Prototipazione Multidimensionale - </a:t>
            </a:r>
            <a:r>
              <a:rPr lang="it-IT"/>
              <a:t>Use Case</a:t>
            </a:r>
            <a:endParaRPr/>
          </a:p>
        </p:txBody>
      </p:sp>
      <p:sp>
        <p:nvSpPr>
          <p:cNvPr id="1006" name="Google Shape;1006;g3a8f18422b6_5_0"/>
          <p:cNvSpPr/>
          <p:nvPr/>
        </p:nvSpPr>
        <p:spPr>
          <a:xfrm>
            <a:off x="2264584" y="1773238"/>
            <a:ext cx="3879000" cy="1990200"/>
          </a:xfrm>
          <a:prstGeom prst="roundRect">
            <a:avLst>
              <a:gd fmla="val 10270" name="adj"/>
            </a:avLst>
          </a:prstGeom>
          <a:solidFill>
            <a:schemeClr val="dk2"/>
          </a:solidFill>
          <a:ln cap="flat" cmpd="sng" w="12700">
            <a:solidFill>
              <a:schemeClr val="dk2"/>
            </a:solidFill>
            <a:prstDash val="solid"/>
            <a:miter lim="8000"/>
            <a:headEnd len="sm" w="sm" type="none"/>
            <a:tailEnd len="sm" w="sm" type="none"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Fira Sans"/>
              <a:buNone/>
            </a:pPr>
            <a:r>
              <a:rPr b="1" lang="it-IT" sz="44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01</a:t>
            </a:r>
            <a:endParaRPr b="1" sz="440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0" marL="0" rt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b="1" lang="it-IT" sz="1800">
                <a:solidFill>
                  <a:srgbClr val="DEFF9A"/>
                </a:solidFill>
              </a:rPr>
              <a:t>Funzionalità Generali</a:t>
            </a:r>
            <a:endParaRPr b="1" sz="1800">
              <a:solidFill>
                <a:srgbClr val="DEFF9A"/>
              </a:solidFill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None/>
            </a:pPr>
            <a:r>
              <a:rPr lang="it-IT" sz="1350">
                <a:solidFill>
                  <a:schemeClr val="lt1"/>
                </a:solidFill>
              </a:rPr>
              <a:t>Utilizzata per prototipare flussi di business ed evidenziarne il valore.</a:t>
            </a:r>
            <a:endParaRPr sz="1350">
              <a:solidFill>
                <a:schemeClr val="lt1"/>
              </a:solidFill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None/>
            </a:pPr>
            <a:r>
              <a:rPr b="1" lang="it-IT" sz="1350">
                <a:solidFill>
                  <a:schemeClr val="lt1"/>
                </a:solidFill>
              </a:rPr>
              <a:t>Figura</a:t>
            </a:r>
            <a:r>
              <a:rPr lang="it-IT" sz="1350">
                <a:solidFill>
                  <a:schemeClr val="lt1"/>
                </a:solidFill>
              </a:rPr>
              <a:t>: Product Owner / Business Analyst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007" name="Google Shape;1007;g3a8f18422b6_5_0"/>
          <p:cNvSpPr/>
          <p:nvPr/>
        </p:nvSpPr>
        <p:spPr>
          <a:xfrm>
            <a:off x="6323661" y="1773238"/>
            <a:ext cx="3879000" cy="1990200"/>
          </a:xfrm>
          <a:prstGeom prst="roundRect">
            <a:avLst>
              <a:gd fmla="val 10852" name="adj"/>
            </a:avLst>
          </a:prstGeom>
          <a:solidFill>
            <a:schemeClr val="dk2"/>
          </a:solidFill>
          <a:ln cap="flat" cmpd="sng" w="12700">
            <a:solidFill>
              <a:schemeClr val="dk2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Fira Sans"/>
              <a:buNone/>
            </a:pPr>
            <a:r>
              <a:rPr b="1" lang="it-IT" sz="44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02</a:t>
            </a:r>
            <a:endParaRPr>
              <a:solidFill>
                <a:schemeClr val="dk1"/>
              </a:solidFill>
            </a:endParaRPr>
          </a:p>
          <a:p>
            <a:pPr indent="0" lvl="0" marL="0" rt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b="1" lang="it-IT" sz="1800">
                <a:solidFill>
                  <a:srgbClr val="DEFF9A"/>
                </a:solidFill>
              </a:rPr>
              <a:t>Funzionalità UX</a:t>
            </a:r>
            <a:endParaRPr b="1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None/>
            </a:pPr>
            <a:r>
              <a:rPr lang="it-IT" sz="1350">
                <a:solidFill>
                  <a:schemeClr val="lt1"/>
                </a:solidFill>
              </a:rPr>
              <a:t>Focus su interazione, accessibilità e look &amp; feel.</a:t>
            </a:r>
            <a:endParaRPr sz="1350">
              <a:solidFill>
                <a:schemeClr val="lt1"/>
              </a:solidFill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None/>
            </a:pPr>
            <a:r>
              <a:rPr b="1" lang="it-IT" sz="1350">
                <a:solidFill>
                  <a:schemeClr val="lt1"/>
                </a:solidFill>
              </a:rPr>
              <a:t>Figura</a:t>
            </a:r>
            <a:r>
              <a:rPr lang="it-IT" sz="1350">
                <a:solidFill>
                  <a:schemeClr val="lt1"/>
                </a:solidFill>
              </a:rPr>
              <a:t>: UX/UI Designer</a:t>
            </a:r>
            <a:endParaRPr/>
          </a:p>
        </p:txBody>
      </p:sp>
      <p:sp>
        <p:nvSpPr>
          <p:cNvPr id="1008" name="Google Shape;1008;g3a8f18422b6_5_0"/>
          <p:cNvSpPr/>
          <p:nvPr/>
        </p:nvSpPr>
        <p:spPr>
          <a:xfrm>
            <a:off x="2264584" y="3943563"/>
            <a:ext cx="3879000" cy="1990200"/>
          </a:xfrm>
          <a:prstGeom prst="roundRect">
            <a:avLst>
              <a:gd fmla="val 10270" name="adj"/>
            </a:avLst>
          </a:prstGeom>
          <a:solidFill>
            <a:schemeClr val="dk2"/>
          </a:solidFill>
          <a:ln cap="flat" cmpd="sng" w="12700">
            <a:solidFill>
              <a:schemeClr val="dk2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Fira Sans"/>
              <a:buNone/>
            </a:pPr>
            <a:r>
              <a:rPr b="1" lang="it-IT" sz="44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03</a:t>
            </a:r>
            <a:endParaRPr/>
          </a:p>
          <a:p>
            <a:pPr indent="0" lvl="0" marL="0" rt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b="1" lang="it-IT" sz="1800">
                <a:solidFill>
                  <a:srgbClr val="DEFF9A"/>
                </a:solidFill>
              </a:rPr>
              <a:t>Funzionalità Tecniche</a:t>
            </a:r>
            <a:endParaRPr b="1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None/>
            </a:pPr>
            <a:r>
              <a:rPr lang="it-IT" sz="1350">
                <a:solidFill>
                  <a:schemeClr val="lt1"/>
                </a:solidFill>
              </a:rPr>
              <a:t>Verifica di fattibilità, API e strutture dati, architetture.</a:t>
            </a:r>
            <a:endParaRPr sz="1350">
              <a:solidFill>
                <a:schemeClr val="lt1"/>
              </a:solidFill>
            </a:endParaRPr>
          </a:p>
          <a:p>
            <a:pPr indent="0" lvl="0" marL="0" rtl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b="1" lang="it-IT" sz="1350">
                <a:solidFill>
                  <a:schemeClr val="lt1"/>
                </a:solidFill>
              </a:rPr>
              <a:t>Figura</a:t>
            </a:r>
            <a:r>
              <a:rPr lang="it-IT" sz="1350">
                <a:solidFill>
                  <a:schemeClr val="lt1"/>
                </a:solidFill>
              </a:rPr>
              <a:t>: Software Architect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009" name="Google Shape;1009;g3a8f18422b6_5_0"/>
          <p:cNvSpPr/>
          <p:nvPr/>
        </p:nvSpPr>
        <p:spPr>
          <a:xfrm>
            <a:off x="6323661" y="3943563"/>
            <a:ext cx="3879000" cy="1990200"/>
          </a:xfrm>
          <a:prstGeom prst="roundRect">
            <a:avLst>
              <a:gd fmla="val 10852" name="adj"/>
            </a:avLst>
          </a:prstGeom>
          <a:solidFill>
            <a:schemeClr val="dk2"/>
          </a:solidFill>
          <a:ln cap="flat" cmpd="sng" w="12700">
            <a:solidFill>
              <a:schemeClr val="dk2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Fira Sans"/>
              <a:buNone/>
            </a:pPr>
            <a:r>
              <a:rPr b="1" lang="it-IT" sz="44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04</a:t>
            </a:r>
            <a:endParaRPr/>
          </a:p>
          <a:p>
            <a:pPr indent="0" lvl="0" marL="0" rt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b="1" lang="it-IT" sz="1800">
                <a:solidFill>
                  <a:srgbClr val="DEFF9A"/>
                </a:solidFill>
              </a:rPr>
              <a:t>Funzionalità AI</a:t>
            </a:r>
            <a:endParaRPr b="1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0" marL="0" marR="0" rtl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None/>
            </a:pPr>
            <a:r>
              <a:rPr lang="it-IT" sz="1350">
                <a:solidFill>
                  <a:schemeClr val="lt1"/>
                </a:solidFill>
              </a:rPr>
              <a:t>Testare i modelli "sotto il cofano" e la qualità delle risposte.</a:t>
            </a:r>
            <a:endParaRPr sz="1350">
              <a:solidFill>
                <a:schemeClr val="lt1"/>
              </a:solidFill>
            </a:endParaRPr>
          </a:p>
          <a:p>
            <a:pPr indent="0" lvl="0" marL="0" rtl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b="1" lang="it-IT" sz="1350">
                <a:solidFill>
                  <a:schemeClr val="lt1"/>
                </a:solidFill>
              </a:rPr>
              <a:t>Figura</a:t>
            </a:r>
            <a:r>
              <a:rPr lang="it-IT" sz="1350">
                <a:solidFill>
                  <a:schemeClr val="lt1"/>
                </a:solidFill>
              </a:rPr>
              <a:t>: AI Engineer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010" name="Google Shape;1010;g3a8f18422b6_5_0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01/10/25</a:t>
            </a:r>
            <a:endParaRPr/>
          </a:p>
        </p:txBody>
      </p:sp>
      <p:sp>
        <p:nvSpPr>
          <p:cNvPr id="1011" name="Google Shape;1011;g3a8f18422b6_5_0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1012" name="Google Shape;1012;g3a8f18422b6_5_0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1016" name="Shape 10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7" name="Google Shape;1017;p5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190500" rt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it-IT" sz="3600">
                <a:solidFill>
                  <a:srgbClr val="F5F5F5"/>
                </a:solidFill>
                <a:latin typeface="Arial"/>
                <a:ea typeface="Arial"/>
                <a:cs typeface="Arial"/>
                <a:sym typeface="Arial"/>
              </a:rPr>
              <a:t>Prototipazione Multidimensionale - </a:t>
            </a:r>
            <a:r>
              <a:rPr lang="it-IT"/>
              <a:t>Use Case</a:t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t/>
            </a:r>
            <a:endParaRPr/>
          </a:p>
        </p:txBody>
      </p:sp>
      <p:sp>
        <p:nvSpPr>
          <p:cNvPr id="1018" name="Google Shape;1018;p5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1019" name="Google Shape;1019;p5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1020" name="Google Shape;1020;p5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22/11/25</a:t>
            </a:r>
            <a:endParaRPr/>
          </a:p>
        </p:txBody>
      </p:sp>
      <p:pic>
        <p:nvPicPr>
          <p:cNvPr id="1021" name="Google Shape;1021;p5" title="Gemini_Generated_Image_whi140whi140whi1.png"/>
          <p:cNvPicPr preferRelativeResize="0"/>
          <p:nvPr/>
        </p:nvPicPr>
        <p:blipFill rotWithShape="1">
          <a:blip r:embed="rId3">
            <a:alphaModFix/>
          </a:blip>
          <a:srcRect b="38130" l="0" r="0" t="0"/>
          <a:stretch/>
        </p:blipFill>
        <p:spPr>
          <a:xfrm>
            <a:off x="1203075" y="1592675"/>
            <a:ext cx="9686175" cy="420192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1025" name="Shape 10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Google Shape;1026;g3aaba1d86ca_2_26"/>
          <p:cNvSpPr txBox="1"/>
          <p:nvPr>
            <p:ph type="title"/>
          </p:nvPr>
        </p:nvSpPr>
        <p:spPr>
          <a:xfrm>
            <a:off x="1056000" y="2421000"/>
            <a:ext cx="8424000" cy="3744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Strumenti</a:t>
            </a:r>
            <a:endParaRPr/>
          </a:p>
        </p:txBody>
      </p:sp>
      <p:sp>
        <p:nvSpPr>
          <p:cNvPr id="1027" name="Google Shape;1027;g3aaba1d86ca_2_26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Fira Sans"/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1028" name="Google Shape;1028;g3aaba1d86ca_2_26"/>
          <p:cNvSpPr txBox="1"/>
          <p:nvPr>
            <p:ph idx="11" type="ftr"/>
          </p:nvPr>
        </p:nvSpPr>
        <p:spPr>
          <a:xfrm>
            <a:off x="1055687" y="6453000"/>
            <a:ext cx="4824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1029" name="Google Shape;1029;g3aaba1d86ca_2_26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22/11/25</a:t>
            </a:r>
            <a:endParaRPr/>
          </a:p>
        </p:txBody>
      </p:sp>
      <p:sp>
        <p:nvSpPr>
          <p:cNvPr id="1030" name="Google Shape;1030;g3aaba1d86ca_2_26"/>
          <p:cNvSpPr txBox="1"/>
          <p:nvPr>
            <p:ph idx="1" type="body"/>
          </p:nvPr>
        </p:nvSpPr>
        <p:spPr>
          <a:xfrm>
            <a:off x="10199687" y="4797850"/>
            <a:ext cx="1584000" cy="1368000"/>
          </a:xfrm>
          <a:prstGeom prst="rect">
            <a:avLst/>
          </a:prstGeom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1035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g3aa2e84f113_0_0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it-IT"/>
              <a:t>Lovable.dev</a:t>
            </a:r>
            <a:endParaRPr/>
          </a:p>
        </p:txBody>
      </p:sp>
      <p:sp>
        <p:nvSpPr>
          <p:cNvPr id="1037" name="Google Shape;1037;g3aa2e84f113_0_0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Fira Sans"/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1038" name="Google Shape;1038;g3aa2e84f113_0_0"/>
          <p:cNvSpPr txBox="1"/>
          <p:nvPr>
            <p:ph idx="1" type="body"/>
          </p:nvPr>
        </p:nvSpPr>
        <p:spPr>
          <a:xfrm>
            <a:off x="1056025" y="1772816"/>
            <a:ext cx="3239700" cy="43926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200"/>
              </a:spcBef>
              <a:spcAft>
                <a:spcPts val="200"/>
              </a:spcAft>
              <a:buNone/>
            </a:pPr>
            <a:r>
              <a:t/>
            </a:r>
            <a:endParaRPr/>
          </a:p>
        </p:txBody>
      </p:sp>
      <p:sp>
        <p:nvSpPr>
          <p:cNvPr id="1039" name="Google Shape;1039;g3aa2e84f113_0_0"/>
          <p:cNvSpPr txBox="1"/>
          <p:nvPr>
            <p:ph idx="2" type="body"/>
          </p:nvPr>
        </p:nvSpPr>
        <p:spPr>
          <a:xfrm>
            <a:off x="4799856" y="1772816"/>
            <a:ext cx="3239700" cy="43926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200"/>
              </a:spcBef>
              <a:spcAft>
                <a:spcPts val="200"/>
              </a:spcAft>
              <a:buNone/>
            </a:pPr>
            <a:r>
              <a:t/>
            </a:r>
            <a:endParaRPr/>
          </a:p>
        </p:txBody>
      </p:sp>
      <p:sp>
        <p:nvSpPr>
          <p:cNvPr id="1040" name="Google Shape;1040;g3aa2e84f113_0_0"/>
          <p:cNvSpPr txBox="1"/>
          <p:nvPr>
            <p:ph idx="3" type="body"/>
          </p:nvPr>
        </p:nvSpPr>
        <p:spPr>
          <a:xfrm>
            <a:off x="8544272" y="1772388"/>
            <a:ext cx="3239700" cy="43926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200"/>
              </a:spcBef>
              <a:spcAft>
                <a:spcPts val="200"/>
              </a:spcAft>
              <a:buNone/>
            </a:pPr>
            <a:r>
              <a:t/>
            </a:r>
            <a:endParaRPr/>
          </a:p>
        </p:txBody>
      </p:sp>
      <p:pic>
        <p:nvPicPr>
          <p:cNvPr id="1041" name="Google Shape;1041;g3aa2e84f113_0_0" title="Gemini_Generated_Image_e82ovfe82ovfe82o.png"/>
          <p:cNvPicPr preferRelativeResize="0"/>
          <p:nvPr/>
        </p:nvPicPr>
        <p:blipFill rotWithShape="1">
          <a:blip r:embed="rId3">
            <a:alphaModFix/>
          </a:blip>
          <a:srcRect b="8435" l="0" r="0" t="22817"/>
          <a:stretch/>
        </p:blipFill>
        <p:spPr>
          <a:xfrm>
            <a:off x="0" y="1592675"/>
            <a:ext cx="12192000" cy="4571599"/>
          </a:xfrm>
          <a:prstGeom prst="rect">
            <a:avLst/>
          </a:prstGeom>
          <a:noFill/>
          <a:ln>
            <a:noFill/>
          </a:ln>
        </p:spPr>
      </p:pic>
      <p:sp>
        <p:nvSpPr>
          <p:cNvPr id="1042" name="Google Shape;1042;g3aa2e84f113_0_0"/>
          <p:cNvSpPr/>
          <p:nvPr/>
        </p:nvSpPr>
        <p:spPr>
          <a:xfrm>
            <a:off x="5147100" y="2674650"/>
            <a:ext cx="673200" cy="1080000"/>
          </a:xfrm>
          <a:prstGeom prst="rect">
            <a:avLst/>
          </a:prstGeom>
          <a:noFill/>
          <a:ln cap="flat" cmpd="sng" w="9525">
            <a:solidFill>
              <a:schemeClr val="dk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043" name="Google Shape;1043;g3aa2e84f113_0_0"/>
          <p:cNvSpPr/>
          <p:nvPr/>
        </p:nvSpPr>
        <p:spPr>
          <a:xfrm>
            <a:off x="10011700" y="4787775"/>
            <a:ext cx="1723200" cy="704400"/>
          </a:xfrm>
          <a:prstGeom prst="rect">
            <a:avLst/>
          </a:prstGeom>
          <a:noFill/>
          <a:ln cap="flat" cmpd="sng" w="9525">
            <a:solidFill>
              <a:srgbClr val="980000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>
              <a:highlight>
                <a:srgbClr val="980000"/>
              </a:highlight>
              <a:latin typeface="Fira Sans"/>
              <a:ea typeface="Fira Sans"/>
              <a:cs typeface="Fira Sans"/>
              <a:sym typeface="Fira Sans"/>
            </a:endParaRPr>
          </a:p>
        </p:txBody>
      </p:sp>
    </p:spTree>
  </p:cSld>
  <p:clrMapOvr>
    <a:masterClrMapping/>
  </p:clrMapOvr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1048" name="Shape 10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" name="Google Shape;1049;g3aa2e84f113_0_13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it-IT"/>
              <a:t>Bolt.new</a:t>
            </a:r>
            <a:endParaRPr/>
          </a:p>
        </p:txBody>
      </p:sp>
      <p:sp>
        <p:nvSpPr>
          <p:cNvPr id="1050" name="Google Shape;1050;g3aa2e84f113_0_13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pic>
        <p:nvPicPr>
          <p:cNvPr id="1051" name="Google Shape;1051;g3aa2e84f113_0_13" title="Gemini_Generated_Image_yeeizgyeeizgyeei.png"/>
          <p:cNvPicPr preferRelativeResize="0"/>
          <p:nvPr/>
        </p:nvPicPr>
        <p:blipFill rotWithShape="1">
          <a:blip r:embed="rId3">
            <a:alphaModFix/>
          </a:blip>
          <a:srcRect b="12194" l="0" r="0" t="19261"/>
          <a:stretch/>
        </p:blipFill>
        <p:spPr>
          <a:xfrm>
            <a:off x="0" y="1395825"/>
            <a:ext cx="12192000" cy="4558025"/>
          </a:xfrm>
          <a:prstGeom prst="rect">
            <a:avLst/>
          </a:prstGeom>
          <a:noFill/>
          <a:ln>
            <a:noFill/>
          </a:ln>
        </p:spPr>
      </p:pic>
      <p:sp>
        <p:nvSpPr>
          <p:cNvPr id="1052" name="Google Shape;1052;g3aa2e84f113_0_13"/>
          <p:cNvSpPr/>
          <p:nvPr/>
        </p:nvSpPr>
        <p:spPr>
          <a:xfrm>
            <a:off x="9953050" y="4950050"/>
            <a:ext cx="1897800" cy="786300"/>
          </a:xfrm>
          <a:prstGeom prst="rect">
            <a:avLst/>
          </a:prstGeom>
          <a:noFill/>
          <a:ln cap="flat" cmpd="sng" w="9525">
            <a:solidFill>
              <a:schemeClr val="dk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>
              <a:latin typeface="Fira Sans"/>
              <a:ea typeface="Fira Sans"/>
              <a:cs typeface="Fira Sans"/>
              <a:sym typeface="Fira Sans"/>
            </a:endParaRPr>
          </a:p>
        </p:txBody>
      </p:sp>
    </p:spTree>
  </p:cSld>
  <p:clrMapOvr>
    <a:masterClrMapping/>
  </p:clrMapOvr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1057" name="Shape 1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8" name="Google Shape;1058;g3aa2e84f113_0_24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it-IT"/>
              <a:t>Google Ai Studio</a:t>
            </a:r>
            <a:endParaRPr/>
          </a:p>
        </p:txBody>
      </p:sp>
      <p:sp>
        <p:nvSpPr>
          <p:cNvPr id="1059" name="Google Shape;1059;g3aa2e84f113_0_24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pic>
        <p:nvPicPr>
          <p:cNvPr id="1060" name="Google Shape;1060;g3aa2e84f113_0_24" title="Gemini_Generated_Image_haiwcchaiwcchaiw.png"/>
          <p:cNvPicPr preferRelativeResize="0"/>
          <p:nvPr/>
        </p:nvPicPr>
        <p:blipFill rotWithShape="1">
          <a:blip r:embed="rId3">
            <a:alphaModFix/>
          </a:blip>
          <a:srcRect b="12566" l="0" r="0" t="25194"/>
          <a:stretch/>
        </p:blipFill>
        <p:spPr>
          <a:xfrm>
            <a:off x="0" y="1675475"/>
            <a:ext cx="12192000" cy="4138549"/>
          </a:xfrm>
          <a:prstGeom prst="rect">
            <a:avLst/>
          </a:prstGeom>
          <a:noFill/>
          <a:ln>
            <a:noFill/>
          </a:ln>
        </p:spPr>
      </p:pic>
      <p:sp>
        <p:nvSpPr>
          <p:cNvPr id="1061" name="Google Shape;1061;g3aa2e84f113_0_24"/>
          <p:cNvSpPr/>
          <p:nvPr/>
        </p:nvSpPr>
        <p:spPr>
          <a:xfrm>
            <a:off x="5166750" y="1861200"/>
            <a:ext cx="1904100" cy="3711600"/>
          </a:xfrm>
          <a:prstGeom prst="rect">
            <a:avLst/>
          </a:prstGeom>
          <a:noFill/>
          <a:ln cap="flat" cmpd="sng" w="9525">
            <a:solidFill>
              <a:schemeClr val="dk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062" name="Google Shape;1062;g3aa2e84f113_0_24"/>
          <p:cNvSpPr/>
          <p:nvPr/>
        </p:nvSpPr>
        <p:spPr>
          <a:xfrm>
            <a:off x="9829625" y="1773250"/>
            <a:ext cx="2244000" cy="3711600"/>
          </a:xfrm>
          <a:prstGeom prst="rect">
            <a:avLst/>
          </a:prstGeom>
          <a:noFill/>
          <a:ln cap="flat" cmpd="sng" w="9525">
            <a:solidFill>
              <a:schemeClr val="dk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063" name="Google Shape;1063;g3aa2e84f113_0_24"/>
          <p:cNvSpPr/>
          <p:nvPr/>
        </p:nvSpPr>
        <p:spPr>
          <a:xfrm>
            <a:off x="2826750" y="4498781"/>
            <a:ext cx="1904100" cy="1190700"/>
          </a:xfrm>
          <a:prstGeom prst="rect">
            <a:avLst/>
          </a:prstGeom>
          <a:noFill/>
          <a:ln cap="flat" cmpd="sng" w="9525">
            <a:solidFill>
              <a:schemeClr val="dk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>
              <a:latin typeface="Fira Sans"/>
              <a:ea typeface="Fira Sans"/>
              <a:cs typeface="Fira Sans"/>
              <a:sym typeface="Fira Sans"/>
            </a:endParaRPr>
          </a:p>
        </p:txBody>
      </p:sp>
    </p:spTree>
  </p:cSld>
  <p:clrMapOvr>
    <a:masterClrMapping/>
  </p:clrMapOvr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bg>
      <p:bgPr>
        <a:solidFill>
          <a:schemeClr val="lt1"/>
        </a:solidFill>
      </p:bgPr>
    </p:bg>
    <p:spTree>
      <p:nvGrpSpPr>
        <p:cNvPr id="841" name="Shape 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2" name="Google Shape;842;p3"/>
          <p:cNvSpPr txBox="1"/>
          <p:nvPr>
            <p:ph type="title"/>
          </p:nvPr>
        </p:nvSpPr>
        <p:spPr>
          <a:xfrm>
            <a:off x="1055689" y="512796"/>
            <a:ext cx="511175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Alberto Gianfranco</a:t>
            </a:r>
            <a:br>
              <a:rPr lang="it-IT"/>
            </a:br>
            <a:r>
              <a:rPr lang="it-IT"/>
              <a:t>Meleleo</a:t>
            </a:r>
            <a:endParaRPr/>
          </a:p>
        </p:txBody>
      </p:sp>
      <p:pic>
        <p:nvPicPr>
          <p:cNvPr descr="A person smiling for the camera&#10;&#10;AI-generated content may be incorrect." id="843" name="Google Shape;843;p3"/>
          <p:cNvPicPr preferRelativeResize="0"/>
          <p:nvPr>
            <p:ph idx="2" type="pic"/>
          </p:nvPr>
        </p:nvPicPr>
        <p:blipFill rotWithShape="1">
          <a:blip r:embed="rId3">
            <a:alphaModFix/>
          </a:blip>
          <a:srcRect b="-2" l="10672" r="13669" t="0"/>
          <a:stretch/>
        </p:blipFill>
        <p:spPr>
          <a:xfrm>
            <a:off x="6672262" y="10"/>
            <a:ext cx="5519737" cy="6857990"/>
          </a:xfrm>
          <a:prstGeom prst="rect">
            <a:avLst/>
          </a:prstGeom>
          <a:noFill/>
          <a:ln>
            <a:noFill/>
          </a:ln>
        </p:spPr>
      </p:pic>
      <p:sp>
        <p:nvSpPr>
          <p:cNvPr id="844" name="Google Shape;844;p3"/>
          <p:cNvSpPr txBox="1"/>
          <p:nvPr>
            <p:ph idx="3" type="body"/>
          </p:nvPr>
        </p:nvSpPr>
        <p:spPr>
          <a:xfrm>
            <a:off x="6672262" y="3717000"/>
            <a:ext cx="5519737" cy="314099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98000">
                <a:srgbClr val="005295"/>
              </a:gs>
              <a:gs pos="100000">
                <a:srgbClr val="005295"/>
              </a:gs>
            </a:gsLst>
            <a:lin ang="0" scaled="0"/>
          </a:gra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Font typeface="Fira Sans"/>
              <a:buNone/>
            </a:pPr>
            <a:r>
              <a:t/>
            </a:r>
            <a:endParaRPr/>
          </a:p>
        </p:txBody>
      </p:sp>
      <p:sp>
        <p:nvSpPr>
          <p:cNvPr id="845" name="Google Shape;845;p3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rm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846" name="Google Shape;846;p3"/>
          <p:cNvSpPr txBox="1"/>
          <p:nvPr>
            <p:ph idx="11" type="ftr"/>
          </p:nvPr>
        </p:nvSpPr>
        <p:spPr>
          <a:xfrm>
            <a:off x="1055687" y="6453000"/>
            <a:ext cx="4752976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rm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pic>
        <p:nvPicPr>
          <p:cNvPr id="847" name="Google Shape;847;p3"/>
          <p:cNvPicPr preferRelativeResize="0"/>
          <p:nvPr/>
        </p:nvPicPr>
        <p:blipFill rotWithShape="1">
          <a:blip r:embed="rId4">
            <a:alphaModFix/>
          </a:blip>
          <a:srcRect b="7947" l="0" r="0" t="7955"/>
          <a:stretch/>
        </p:blipFill>
        <p:spPr>
          <a:xfrm>
            <a:off x="768000" y="2903775"/>
            <a:ext cx="1911325" cy="703650"/>
          </a:xfrm>
          <a:prstGeom prst="rect">
            <a:avLst/>
          </a:prstGeom>
          <a:solidFill>
            <a:schemeClr val="lt1"/>
          </a:solidFill>
          <a:ln>
            <a:noFill/>
          </a:ln>
        </p:spPr>
      </p:pic>
      <p:pic>
        <p:nvPicPr>
          <p:cNvPr id="848" name="Google Shape;848;p3"/>
          <p:cNvPicPr preferRelativeResize="0"/>
          <p:nvPr/>
        </p:nvPicPr>
        <p:blipFill rotWithShape="1">
          <a:blip r:embed="rId5">
            <a:alphaModFix/>
          </a:blip>
          <a:srcRect b="0" l="0" r="0" t="0"/>
          <a:stretch/>
        </p:blipFill>
        <p:spPr>
          <a:xfrm>
            <a:off x="3184154" y="2903764"/>
            <a:ext cx="703665" cy="703665"/>
          </a:xfrm>
          <a:prstGeom prst="rect">
            <a:avLst/>
          </a:prstGeom>
          <a:noFill/>
          <a:ln>
            <a:noFill/>
          </a:ln>
        </p:spPr>
      </p:pic>
      <p:pic>
        <p:nvPicPr>
          <p:cNvPr id="849" name="Google Shape;849;p3"/>
          <p:cNvPicPr preferRelativeResize="0"/>
          <p:nvPr/>
        </p:nvPicPr>
        <p:blipFill rotWithShape="1">
          <a:blip r:embed="rId6">
            <a:alphaModFix/>
          </a:blip>
          <a:srcRect b="0" l="0" r="0" t="0"/>
          <a:stretch/>
        </p:blipFill>
        <p:spPr>
          <a:xfrm>
            <a:off x="4278692" y="2903764"/>
            <a:ext cx="722904" cy="722904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3"/>
          <p:cNvSpPr txBox="1"/>
          <p:nvPr/>
        </p:nvSpPr>
        <p:spPr>
          <a:xfrm>
            <a:off x="4953965" y="365760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t/>
            </a:r>
            <a:endParaRPr b="0" i="0" sz="1400" u="none" cap="none" strike="noStrike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851" name="Google Shape;851;p3"/>
          <p:cNvSpPr txBox="1"/>
          <p:nvPr/>
        </p:nvSpPr>
        <p:spPr>
          <a:xfrm>
            <a:off x="768000" y="1773250"/>
            <a:ext cx="4888200" cy="723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82800">
            <a:noAutofit/>
          </a:bodyPr>
          <a:lstStyle/>
          <a:p>
            <a:pPr indent="0" lvl="2" marL="0" marR="0" rtl="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None/>
            </a:pPr>
            <a:r>
              <a:rPr b="1" lang="it-IT" sz="18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Project Leader &amp; Leader CC Tech @adesso.it</a:t>
            </a:r>
            <a:endParaRPr/>
          </a:p>
        </p:txBody>
      </p:sp>
      <p:pic>
        <p:nvPicPr>
          <p:cNvPr id="852" name="Google Shape;852;p3" title="social_14_52_30.png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896075" y="3717000"/>
            <a:ext cx="2540774" cy="25407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1068" name="Shape 10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9" name="Google Shape;1069;g3aa2e84f113_0_35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it-IT"/>
              <a:t>Claude Code</a:t>
            </a:r>
            <a:endParaRPr/>
          </a:p>
        </p:txBody>
      </p:sp>
      <p:sp>
        <p:nvSpPr>
          <p:cNvPr id="1070" name="Google Shape;1070;g3aa2e84f113_0_35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pic>
        <p:nvPicPr>
          <p:cNvPr id="1071" name="Google Shape;1071;g3aa2e84f113_0_35" title="Gemini_Generated_Image_1w53se1w53se1w53 (1).png"/>
          <p:cNvPicPr preferRelativeResize="0"/>
          <p:nvPr/>
        </p:nvPicPr>
        <p:blipFill rotWithShape="1">
          <a:blip r:embed="rId3">
            <a:alphaModFix/>
          </a:blip>
          <a:srcRect b="12002" l="0" r="0" t="21938"/>
          <a:stretch/>
        </p:blipFill>
        <p:spPr>
          <a:xfrm>
            <a:off x="0" y="1458750"/>
            <a:ext cx="12192000" cy="43926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1075" name="Shape 1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g3a8f18422b6_1_0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Quale strumento scegliere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</a:pPr>
            <a:r>
              <a:t/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t/>
            </a:r>
            <a:endParaRPr/>
          </a:p>
        </p:txBody>
      </p:sp>
      <p:sp>
        <p:nvSpPr>
          <p:cNvPr id="1077" name="Google Shape;1077;g3a8f18422b6_1_0"/>
          <p:cNvSpPr txBox="1"/>
          <p:nvPr/>
        </p:nvSpPr>
        <p:spPr>
          <a:xfrm>
            <a:off x="1055852" y="1773474"/>
            <a:ext cx="3240000" cy="64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200"/>
              <a:buFont typeface="Fira Sans"/>
              <a:buNone/>
            </a:pPr>
            <a:r>
              <a:rPr b="1" i="0" lang="it-IT" sz="52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01</a:t>
            </a:r>
            <a:endParaRPr/>
          </a:p>
        </p:txBody>
      </p:sp>
      <p:sp>
        <p:nvSpPr>
          <p:cNvPr id="1078" name="Google Shape;1078;g3a8f18422b6_1_0"/>
          <p:cNvSpPr txBox="1"/>
          <p:nvPr/>
        </p:nvSpPr>
        <p:spPr>
          <a:xfrm>
            <a:off x="4799853" y="1773474"/>
            <a:ext cx="3240000" cy="64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200"/>
              <a:buFont typeface="Fira Sans"/>
              <a:buNone/>
            </a:pPr>
            <a:r>
              <a:rPr b="1" i="0" lang="it-IT" sz="52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02</a:t>
            </a:r>
            <a:endParaRPr/>
          </a:p>
        </p:txBody>
      </p:sp>
      <p:sp>
        <p:nvSpPr>
          <p:cNvPr id="1079" name="Google Shape;1079;g3a8f18422b6_1_0"/>
          <p:cNvSpPr txBox="1"/>
          <p:nvPr/>
        </p:nvSpPr>
        <p:spPr>
          <a:xfrm>
            <a:off x="8544078" y="1773474"/>
            <a:ext cx="3240000" cy="64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200"/>
              <a:buFont typeface="Fira Sans"/>
              <a:buNone/>
            </a:pPr>
            <a:r>
              <a:rPr b="1" i="0" lang="it-IT" sz="52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03</a:t>
            </a:r>
            <a:endParaRPr/>
          </a:p>
        </p:txBody>
      </p:sp>
      <p:pic>
        <p:nvPicPr>
          <p:cNvPr id="1080" name="Google Shape;1080;g3a8f18422b6_1_0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61559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1081" name="Google Shape;1081;g3a8f18422b6_1_0"/>
          <p:cNvSpPr txBox="1"/>
          <p:nvPr/>
        </p:nvSpPr>
        <p:spPr>
          <a:xfrm>
            <a:off x="1055663" y="2564904"/>
            <a:ext cx="3240336" cy="360024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4" marL="0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None/>
            </a:pPr>
            <a:r>
              <a:rPr b="1" lang="it-IT" sz="16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Prototipo visuale</a:t>
            </a:r>
            <a:endParaRPr b="1" sz="160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5" marL="0" rtl="0" algn="l"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rPr lang="it-IT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ci permette di lavorare a stretto contatto con gli stakeholder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5" marL="0" rtl="0" algn="l"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rPr lang="it-IT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 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5" marL="0" rtl="0" algn="l"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t/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-317500" lvl="0" marL="457200" rtl="0" algn="l"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Char char="●"/>
            </a:pPr>
            <a:r>
              <a:rPr lang="it-IT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Lovable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Char char="●"/>
            </a:pPr>
            <a:r>
              <a:rPr lang="it-IT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Bolt.new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Char char="●"/>
            </a:pPr>
            <a:r>
              <a:rPr lang="it-IT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Replit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Char char="●"/>
            </a:pPr>
            <a:r>
              <a:rPr lang="it-IT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Ai Studio</a:t>
            </a:r>
            <a:endParaRPr b="1" sz="160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082" name="Google Shape;1082;g3a8f18422b6_1_0"/>
          <p:cNvSpPr txBox="1"/>
          <p:nvPr/>
        </p:nvSpPr>
        <p:spPr>
          <a:xfrm>
            <a:off x="4799663" y="2564904"/>
            <a:ext cx="3240336" cy="360024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4" marL="0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None/>
            </a:pPr>
            <a:r>
              <a:rPr b="1" lang="it-IT" sz="16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Prototipi funzionali</a:t>
            </a:r>
            <a:endParaRPr>
              <a:solidFill>
                <a:schemeClr val="lt1"/>
              </a:solidFill>
            </a:endParaRPr>
          </a:p>
          <a:p>
            <a:pPr indent="0" lvl="5" marL="0" rtl="0" algn="l"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rPr lang="it-IT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ci permette di creare e validare funzionalità tecniche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5" marL="0" rtl="0" algn="l"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t/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5" marL="0" rtl="0" algn="l"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t/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-317500" lvl="0" marL="457200" rtl="0" algn="l"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Char char="●"/>
            </a:pPr>
            <a:r>
              <a:rPr lang="it-IT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Cloude Code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Char char="●"/>
            </a:pPr>
            <a:r>
              <a:rPr lang="it-IT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Gemini CLI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Char char="●"/>
            </a:pPr>
            <a:r>
              <a:rPr lang="it-IT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Cursor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Char char="●"/>
            </a:pPr>
            <a:r>
              <a:rPr lang="it-IT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Ai Studio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0" marL="457200" rtl="0" algn="l">
              <a:spcBef>
                <a:spcPts val="400"/>
              </a:spcBef>
              <a:spcAft>
                <a:spcPts val="0"/>
              </a:spcAft>
              <a:buNone/>
            </a:pPr>
            <a:r>
              <a:t/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083" name="Google Shape;1083;g3a8f18422b6_1_0"/>
          <p:cNvSpPr txBox="1"/>
          <p:nvPr/>
        </p:nvSpPr>
        <p:spPr>
          <a:xfrm>
            <a:off x="8543888" y="2564904"/>
            <a:ext cx="3240336" cy="360024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4" marL="0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None/>
            </a:pPr>
            <a:r>
              <a:rPr b="1" lang="it-IT" sz="16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Analisi delle funzionalità</a:t>
            </a:r>
            <a:endParaRPr>
              <a:solidFill>
                <a:schemeClr val="lt1"/>
              </a:solidFill>
            </a:endParaRPr>
          </a:p>
          <a:p>
            <a:pPr indent="0" lvl="5" marL="0" rtl="0" algn="l"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rPr lang="it-IT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ci permette di creare e validare funzionalità e confrontarle con i requisiti dando più soluzioni a stessi requisiti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5" marL="0" rtl="0" algn="l"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t/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-317500" lvl="0" marL="457200" rtl="0" algn="l"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Char char="●"/>
            </a:pPr>
            <a:r>
              <a:rPr lang="it-IT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Lovable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Char char="●"/>
            </a:pPr>
            <a:r>
              <a:rPr lang="it-IT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Bolt.new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Char char="●"/>
            </a:pPr>
            <a:r>
              <a:rPr lang="it-IT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Replit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Char char="●"/>
            </a:pPr>
            <a:r>
              <a:rPr lang="it-IT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Ai Studio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5" marL="0" marR="0" rtl="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t/>
            </a:r>
            <a:endParaRPr b="1" sz="160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084" name="Google Shape;1084;g3a8f18422b6_1_0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01/10/25</a:t>
            </a:r>
            <a:endParaRPr/>
          </a:p>
        </p:txBody>
      </p:sp>
      <p:sp>
        <p:nvSpPr>
          <p:cNvPr id="1085" name="Google Shape;1085;g3a8f18422b6_1_0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1086" name="Google Shape;1086;g3a8f18422b6_1_0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1090" name="Shape 10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1" name="Google Shape;1091;g3a8d1f6c51f_12_73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Quale strumento scegliere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</a:pPr>
            <a:r>
              <a:t/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t/>
            </a:r>
            <a:endParaRPr/>
          </a:p>
        </p:txBody>
      </p:sp>
      <p:sp>
        <p:nvSpPr>
          <p:cNvPr id="1092" name="Google Shape;1092;g3a8d1f6c51f_12_73"/>
          <p:cNvSpPr txBox="1"/>
          <p:nvPr/>
        </p:nvSpPr>
        <p:spPr>
          <a:xfrm>
            <a:off x="4799853" y="1773474"/>
            <a:ext cx="3240000" cy="64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200"/>
              <a:buFont typeface="Fira Sans"/>
              <a:buNone/>
            </a:pPr>
            <a:r>
              <a:rPr b="1" i="0" lang="it-IT" sz="52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0</a:t>
            </a:r>
            <a:r>
              <a:rPr b="1" lang="it-IT" sz="52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4</a:t>
            </a:r>
            <a:endParaRPr/>
          </a:p>
        </p:txBody>
      </p:sp>
      <p:pic>
        <p:nvPicPr>
          <p:cNvPr id="1093" name="Google Shape;1093;g3a8d1f6c51f_12_73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6155900" y="6481979"/>
            <a:ext cx="216000" cy="98743"/>
          </a:xfrm>
          <a:prstGeom prst="rect">
            <a:avLst/>
          </a:prstGeom>
          <a:noFill/>
          <a:ln>
            <a:noFill/>
          </a:ln>
        </p:spPr>
      </p:pic>
      <p:sp>
        <p:nvSpPr>
          <p:cNvPr id="1094" name="Google Shape;1094;g3a8d1f6c51f_12_73"/>
          <p:cNvSpPr txBox="1"/>
          <p:nvPr/>
        </p:nvSpPr>
        <p:spPr>
          <a:xfrm>
            <a:off x="4799663" y="2564904"/>
            <a:ext cx="3240300" cy="36003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4" marL="0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None/>
            </a:pPr>
            <a:r>
              <a:rPr b="1" lang="it-IT" sz="16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Prototipi AI</a:t>
            </a:r>
            <a:endParaRPr>
              <a:solidFill>
                <a:schemeClr val="lt1"/>
              </a:solidFill>
            </a:endParaRPr>
          </a:p>
          <a:p>
            <a:pPr indent="0" lvl="5" marL="0" rtl="0" algn="l"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rPr lang="it-IT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ci permette verificare soluzioni basate su genAI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5" marL="0" rtl="0" algn="l"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t/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5" marL="0" rtl="0" algn="l"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t/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-317500" lvl="0" marL="457200" rtl="0" algn="l"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Char char="●"/>
            </a:pPr>
            <a:r>
              <a:rPr lang="it-IT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Google Ai Studio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0" marL="0" rtl="0" algn="l">
              <a:spcBef>
                <a:spcPts val="400"/>
              </a:spcBef>
              <a:spcAft>
                <a:spcPts val="0"/>
              </a:spcAft>
              <a:buNone/>
            </a:pPr>
            <a:r>
              <a:t/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095" name="Google Shape;1095;g3a8d1f6c51f_12_73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01/10/25</a:t>
            </a:r>
            <a:endParaRPr/>
          </a:p>
        </p:txBody>
      </p:sp>
      <p:sp>
        <p:nvSpPr>
          <p:cNvPr id="1096" name="Google Shape;1096;g3a8d1f6c51f_12_73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1097" name="Google Shape;1097;g3a8d1f6c51f_12_73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1101" name="Shape 1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2" name="Google Shape;1102;g3a84205419e_0_59"/>
          <p:cNvSpPr txBox="1"/>
          <p:nvPr>
            <p:ph type="title"/>
          </p:nvPr>
        </p:nvSpPr>
        <p:spPr>
          <a:xfrm>
            <a:off x="5548050" y="3103350"/>
            <a:ext cx="1095900" cy="6513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DEMO</a:t>
            </a:r>
            <a:endParaRPr/>
          </a:p>
        </p:txBody>
      </p:sp>
      <p:sp>
        <p:nvSpPr>
          <p:cNvPr id="1103" name="Google Shape;1103;g3a84205419e_0_59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1104" name="Google Shape;1104;g3a84205419e_0_59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1105" name="Google Shape;1105;g3a84205419e_0_59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22/11/25</a:t>
            </a:r>
            <a:endParaRPr/>
          </a:p>
        </p:txBody>
      </p:sp>
      <p:sp>
        <p:nvSpPr>
          <p:cNvPr id="1106" name="Google Shape;1106;g3a84205419e_0_59"/>
          <p:cNvSpPr txBox="1"/>
          <p:nvPr>
            <p:ph type="title"/>
          </p:nvPr>
        </p:nvSpPr>
        <p:spPr>
          <a:xfrm>
            <a:off x="2334400" y="3639975"/>
            <a:ext cx="1095900" cy="6513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UX/UI</a:t>
            </a:r>
            <a:endParaRPr/>
          </a:p>
        </p:txBody>
      </p:sp>
      <p:sp>
        <p:nvSpPr>
          <p:cNvPr id="1107" name="Google Shape;1107;g3a84205419e_0_59"/>
          <p:cNvSpPr txBox="1"/>
          <p:nvPr>
            <p:ph type="title"/>
          </p:nvPr>
        </p:nvSpPr>
        <p:spPr>
          <a:xfrm>
            <a:off x="7085825" y="4556400"/>
            <a:ext cx="2798100" cy="10062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Architettura custom</a:t>
            </a:r>
            <a:endParaRPr/>
          </a:p>
        </p:txBody>
      </p:sp>
      <p:sp>
        <p:nvSpPr>
          <p:cNvPr id="1108" name="Google Shape;1108;g3a84205419e_0_59"/>
          <p:cNvSpPr txBox="1"/>
          <p:nvPr>
            <p:ph type="title"/>
          </p:nvPr>
        </p:nvSpPr>
        <p:spPr>
          <a:xfrm>
            <a:off x="2847275" y="4556400"/>
            <a:ext cx="3176400" cy="6513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Documentazione</a:t>
            </a:r>
            <a:endParaRPr/>
          </a:p>
        </p:txBody>
      </p:sp>
      <p:sp>
        <p:nvSpPr>
          <p:cNvPr id="1109" name="Google Shape;1109;g3a84205419e_0_59"/>
          <p:cNvSpPr txBox="1"/>
          <p:nvPr>
            <p:ph type="title"/>
          </p:nvPr>
        </p:nvSpPr>
        <p:spPr>
          <a:xfrm>
            <a:off x="9291525" y="3466250"/>
            <a:ext cx="357000" cy="6513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AI</a:t>
            </a:r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1113" name="Shape 1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4" name="Google Shape;1114;g3a84205419e_0_2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Link Utili</a:t>
            </a:r>
            <a:endParaRPr/>
          </a:p>
        </p:txBody>
      </p:sp>
      <p:sp>
        <p:nvSpPr>
          <p:cNvPr id="1115" name="Google Shape;1115;g3a84205419e_0_2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1116" name="Google Shape;1116;g3a84205419e_0_2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1117" name="Google Shape;1117;g3a84205419e_0_2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22/11/25</a:t>
            </a:r>
            <a:endParaRPr/>
          </a:p>
        </p:txBody>
      </p:sp>
      <p:pic>
        <p:nvPicPr>
          <p:cNvPr id="1118" name="Google Shape;1118;g3a84205419e_0_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862125" y="1229276"/>
            <a:ext cx="8254175" cy="45555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1122" name="Shape 1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3" name="Google Shape;1123;g3aaba1d86ca_2_12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Link Utili</a:t>
            </a:r>
            <a:endParaRPr/>
          </a:p>
        </p:txBody>
      </p:sp>
      <p:sp>
        <p:nvSpPr>
          <p:cNvPr id="1124" name="Google Shape;1124;g3aaba1d86ca_2_12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1125" name="Google Shape;1125;g3aaba1d86ca_2_12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1126" name="Google Shape;1126;g3aaba1d86ca_2_12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22/11/25</a:t>
            </a:r>
            <a:endParaRPr/>
          </a:p>
        </p:txBody>
      </p:sp>
      <p:pic>
        <p:nvPicPr>
          <p:cNvPr descr="A qr code with a white background&#10;&#10;AI-generated content may be incorrect." id="1127" name="Google Shape;1127;g3aaba1d86ca_2_12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4507417" y="2339444"/>
            <a:ext cx="2504947" cy="2504947"/>
          </a:xfrm>
          <a:prstGeom prst="rect">
            <a:avLst/>
          </a:prstGeom>
          <a:noFill/>
          <a:ln>
            <a:noFill/>
          </a:ln>
        </p:spPr>
      </p:pic>
      <p:sp>
        <p:nvSpPr>
          <p:cNvPr id="1128" name="Google Shape;1128;g3aaba1d86ca_2_12"/>
          <p:cNvSpPr txBox="1"/>
          <p:nvPr/>
        </p:nvSpPr>
        <p:spPr>
          <a:xfrm>
            <a:off x="3547274" y="1773249"/>
            <a:ext cx="4931700" cy="3078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rPr b="1" i="0" lang="it-IT" sz="1400" u="none" cap="none" strike="noStrike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https://github.com/albertomeleleo/devfest-bari-2025</a:t>
            </a:r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1132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" name="Google Shape;1133;p7"/>
          <p:cNvSpPr txBox="1"/>
          <p:nvPr>
            <p:ph idx="4294967295" type="sldNum"/>
          </p:nvPr>
        </p:nvSpPr>
        <p:spPr>
          <a:xfrm>
            <a:off x="48313" y="6449501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1134" name="Google Shape;1134;p7"/>
          <p:cNvSpPr txBox="1"/>
          <p:nvPr>
            <p:ph idx="4294967295" type="ftr"/>
          </p:nvPr>
        </p:nvSpPr>
        <p:spPr>
          <a:xfrm>
            <a:off x="1055687" y="6453000"/>
            <a:ext cx="4824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1135" name="Google Shape;1135;p7"/>
          <p:cNvSpPr txBox="1"/>
          <p:nvPr/>
        </p:nvSpPr>
        <p:spPr>
          <a:xfrm>
            <a:off x="2107096" y="365760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t/>
            </a:r>
            <a:endParaRPr b="0" sz="1400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136" name="Google Shape;1136;p7"/>
          <p:cNvSpPr txBox="1"/>
          <p:nvPr/>
        </p:nvSpPr>
        <p:spPr>
          <a:xfrm>
            <a:off x="6853187" y="2569945"/>
            <a:ext cx="0" cy="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t/>
            </a:r>
            <a:endParaRPr b="0" sz="1400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pic>
        <p:nvPicPr>
          <p:cNvPr descr="A qr code with a white background&#10;&#10;AI-generated content may be incorrect." id="1137" name="Google Shape;1137;p7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542664" y="4604427"/>
            <a:ext cx="2077345" cy="207734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856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7" name="Google Shape;857;g3a84205419e_0_150"/>
          <p:cNvSpPr txBox="1"/>
          <p:nvPr>
            <p:ph type="title"/>
          </p:nvPr>
        </p:nvSpPr>
        <p:spPr>
          <a:xfrm>
            <a:off x="1056000" y="2421000"/>
            <a:ext cx="8424000" cy="3744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Prototipazione</a:t>
            </a:r>
            <a:endParaRPr/>
          </a:p>
        </p:txBody>
      </p:sp>
      <p:sp>
        <p:nvSpPr>
          <p:cNvPr id="858" name="Google Shape;858;g3a84205419e_0_150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859" name="Google Shape;859;g3a84205419e_0_150"/>
          <p:cNvSpPr txBox="1"/>
          <p:nvPr>
            <p:ph idx="11" type="ftr"/>
          </p:nvPr>
        </p:nvSpPr>
        <p:spPr>
          <a:xfrm>
            <a:off x="1055687" y="6453000"/>
            <a:ext cx="4824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860" name="Google Shape;860;g3a84205419e_0_150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22/11/25</a:t>
            </a:r>
            <a:endParaRPr/>
          </a:p>
        </p:txBody>
      </p:sp>
      <p:sp>
        <p:nvSpPr>
          <p:cNvPr id="861" name="Google Shape;861;g3a84205419e_0_150"/>
          <p:cNvSpPr txBox="1"/>
          <p:nvPr>
            <p:ph idx="1" type="body"/>
          </p:nvPr>
        </p:nvSpPr>
        <p:spPr>
          <a:xfrm>
            <a:off x="10199687" y="4797850"/>
            <a:ext cx="1584000" cy="1368000"/>
          </a:xfrm>
          <a:prstGeom prst="rect">
            <a:avLst/>
          </a:prstGeom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865" name="Shape 8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6" name="Google Shape;866;g3a8d1f6c51f_7_0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Prototipazione &lt; 2024</a:t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</a:pPr>
            <a:r>
              <a:t/>
            </a:r>
            <a:endParaRPr/>
          </a:p>
        </p:txBody>
      </p:sp>
      <p:sp>
        <p:nvSpPr>
          <p:cNvPr id="867" name="Google Shape;867;g3a8d1f6c51f_7_0"/>
          <p:cNvSpPr txBox="1"/>
          <p:nvPr/>
        </p:nvSpPr>
        <p:spPr>
          <a:xfrm>
            <a:off x="1385052" y="3892839"/>
            <a:ext cx="1584000" cy="2877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4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None/>
            </a:pPr>
            <a:r>
              <a:rPr b="1" lang="it-IT" sz="16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DRAFT REQUISITI</a:t>
            </a:r>
            <a:endParaRPr>
              <a:solidFill>
                <a:schemeClr val="lt1"/>
              </a:solidFill>
            </a:endParaRPr>
          </a:p>
        </p:txBody>
      </p:sp>
      <p:sp>
        <p:nvSpPr>
          <p:cNvPr id="868" name="Google Shape;868;g3a8d1f6c51f_7_0"/>
          <p:cNvSpPr txBox="1"/>
          <p:nvPr/>
        </p:nvSpPr>
        <p:spPr>
          <a:xfrm>
            <a:off x="5576644" y="3891799"/>
            <a:ext cx="1584000" cy="2877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4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None/>
            </a:pPr>
            <a:r>
              <a:rPr b="1" lang="it-IT" sz="16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FEEDBACK PHASE</a:t>
            </a:r>
            <a:endParaRPr>
              <a:solidFill>
                <a:schemeClr val="lt1"/>
              </a:solidFill>
            </a:endParaRPr>
          </a:p>
        </p:txBody>
      </p:sp>
      <p:sp>
        <p:nvSpPr>
          <p:cNvPr id="869" name="Google Shape;869;g3a8d1f6c51f_7_0"/>
          <p:cNvSpPr txBox="1"/>
          <p:nvPr/>
        </p:nvSpPr>
        <p:spPr>
          <a:xfrm>
            <a:off x="9768236" y="3891799"/>
            <a:ext cx="1584000" cy="2877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4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None/>
            </a:pPr>
            <a:r>
              <a:rPr b="1" lang="it-IT" sz="16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PRESENTAZIONE</a:t>
            </a:r>
            <a:endParaRPr>
              <a:solidFill>
                <a:schemeClr val="lt1"/>
              </a:solidFill>
            </a:endParaRPr>
          </a:p>
        </p:txBody>
      </p:sp>
      <p:sp>
        <p:nvSpPr>
          <p:cNvPr id="870" name="Google Shape;870;g3a8d1f6c51f_7_0"/>
          <p:cNvSpPr txBox="1"/>
          <p:nvPr/>
        </p:nvSpPr>
        <p:spPr>
          <a:xfrm>
            <a:off x="3481208" y="2234574"/>
            <a:ext cx="1584000" cy="2877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4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None/>
            </a:pPr>
            <a:r>
              <a:rPr b="1" lang="it-IT" sz="16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ANALISI INIZIALE</a:t>
            </a:r>
            <a:endParaRPr>
              <a:solidFill>
                <a:schemeClr val="lt1"/>
              </a:solidFill>
            </a:endParaRPr>
          </a:p>
        </p:txBody>
      </p:sp>
      <p:sp>
        <p:nvSpPr>
          <p:cNvPr id="871" name="Google Shape;871;g3a8d1f6c51f_7_0"/>
          <p:cNvSpPr txBox="1"/>
          <p:nvPr/>
        </p:nvSpPr>
        <p:spPr>
          <a:xfrm>
            <a:off x="7672208" y="2234574"/>
            <a:ext cx="1584000" cy="2877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4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None/>
            </a:pPr>
            <a:r>
              <a:rPr b="1" lang="it-IT" sz="16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CREAZIONE PROTOTIPO</a:t>
            </a:r>
            <a:endParaRPr>
              <a:solidFill>
                <a:schemeClr val="lt1"/>
              </a:solidFill>
            </a:endParaRPr>
          </a:p>
        </p:txBody>
      </p:sp>
      <p:sp>
        <p:nvSpPr>
          <p:cNvPr id="872" name="Google Shape;872;g3a8d1f6c51f_7_0"/>
          <p:cNvSpPr txBox="1"/>
          <p:nvPr/>
        </p:nvSpPr>
        <p:spPr>
          <a:xfrm>
            <a:off x="7672208" y="1010254"/>
            <a:ext cx="1584000" cy="10779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-317500" lvl="0" marL="457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Char char="●"/>
            </a:pPr>
            <a:r>
              <a:rPr lang="it-IT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WIREFRAME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-317500" lvl="0" marL="4572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"/>
              <a:buChar char="●"/>
            </a:pPr>
            <a:r>
              <a:rPr lang="it-IT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FIGMA </a:t>
            </a:r>
            <a:endParaRPr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873" name="Google Shape;873;g3a8d1f6c51f_7_0"/>
          <p:cNvSpPr/>
          <p:nvPr/>
        </p:nvSpPr>
        <p:spPr>
          <a:xfrm>
            <a:off x="3111920" y="2966009"/>
            <a:ext cx="2322448" cy="1303146"/>
          </a:xfrm>
          <a:custGeom>
            <a:rect b="b" l="l" r="r" t="t"/>
            <a:pathLst>
              <a:path extrusionOk="0" h="1303146" w="2322448">
                <a:moveTo>
                  <a:pt x="2093976" y="110744"/>
                </a:moveTo>
                <a:cubicBezTo>
                  <a:pt x="2093722" y="120840"/>
                  <a:pt x="2093595" y="130937"/>
                  <a:pt x="2093595" y="141097"/>
                </a:cubicBezTo>
                <a:cubicBezTo>
                  <a:pt x="2093595" y="655828"/>
                  <a:pt x="1674876" y="1074547"/>
                  <a:pt x="1160145" y="1074547"/>
                </a:cubicBezTo>
                <a:cubicBezTo>
                  <a:pt x="645414" y="1074547"/>
                  <a:pt x="259080" y="687388"/>
                  <a:pt x="228600" y="200025"/>
                </a:cubicBezTo>
                <a:lnTo>
                  <a:pt x="118745" y="318071"/>
                </a:lnTo>
                <a:lnTo>
                  <a:pt x="0" y="207581"/>
                </a:lnTo>
                <a:cubicBezTo>
                  <a:pt x="34608" y="817499"/>
                  <a:pt x="541655" y="1303147"/>
                  <a:pt x="1160082" y="1303147"/>
                </a:cubicBezTo>
                <a:cubicBezTo>
                  <a:pt x="1778508" y="1303147"/>
                  <a:pt x="2322132" y="781875"/>
                  <a:pt x="2322132" y="141097"/>
                </a:cubicBezTo>
                <a:cubicBezTo>
                  <a:pt x="2322132" y="133286"/>
                  <a:pt x="2322259" y="125476"/>
                  <a:pt x="2322449" y="117729"/>
                </a:cubicBezTo>
                <a:lnTo>
                  <a:pt x="2212975" y="0"/>
                </a:lnTo>
                <a:lnTo>
                  <a:pt x="2093976" y="110680"/>
                </a:lnTo>
                <a:close/>
              </a:path>
            </a:pathLst>
          </a:custGeom>
          <a:solidFill>
            <a:srgbClr val="28DCAA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t/>
            </a:r>
            <a:endParaRPr b="0" sz="1400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874" name="Google Shape;874;g3a8d1f6c51f_7_0"/>
          <p:cNvSpPr/>
          <p:nvPr/>
        </p:nvSpPr>
        <p:spPr>
          <a:xfrm>
            <a:off x="1014516" y="1945056"/>
            <a:ext cx="2324417" cy="1303083"/>
          </a:xfrm>
          <a:custGeom>
            <a:rect b="b" l="l" r="r" t="t"/>
            <a:pathLst>
              <a:path extrusionOk="0" h="1303083" w="2324417">
                <a:moveTo>
                  <a:pt x="2324418" y="1185418"/>
                </a:moveTo>
                <a:cubicBezTo>
                  <a:pt x="2324227" y="1177671"/>
                  <a:pt x="2324100" y="1169860"/>
                  <a:pt x="2324100" y="1162050"/>
                </a:cubicBezTo>
                <a:cubicBezTo>
                  <a:pt x="2324100" y="521271"/>
                  <a:pt x="1802829" y="0"/>
                  <a:pt x="1162050" y="0"/>
                </a:cubicBezTo>
                <a:cubicBezTo>
                  <a:pt x="521271" y="0"/>
                  <a:pt x="0" y="521271"/>
                  <a:pt x="0" y="1162050"/>
                </a:cubicBezTo>
                <a:lnTo>
                  <a:pt x="228600" y="1162050"/>
                </a:lnTo>
                <a:cubicBezTo>
                  <a:pt x="228600" y="647319"/>
                  <a:pt x="647319" y="228600"/>
                  <a:pt x="1162050" y="228600"/>
                </a:cubicBezTo>
                <a:cubicBezTo>
                  <a:pt x="1676781" y="228600"/>
                  <a:pt x="2095500" y="647319"/>
                  <a:pt x="2095500" y="1162050"/>
                </a:cubicBezTo>
                <a:cubicBezTo>
                  <a:pt x="2095500" y="1172210"/>
                  <a:pt x="2095627" y="1182307"/>
                  <a:pt x="2095881" y="1192403"/>
                </a:cubicBezTo>
                <a:lnTo>
                  <a:pt x="2214880" y="1303084"/>
                </a:lnTo>
                <a:lnTo>
                  <a:pt x="2324354" y="1185354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t/>
            </a:r>
            <a:endParaRPr b="0" sz="1400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875" name="Google Shape;875;g3a8d1f6c51f_7_0"/>
          <p:cNvSpPr/>
          <p:nvPr/>
        </p:nvSpPr>
        <p:spPr>
          <a:xfrm>
            <a:off x="5207484" y="1945056"/>
            <a:ext cx="2322449" cy="1303083"/>
          </a:xfrm>
          <a:custGeom>
            <a:rect b="b" l="l" r="r" t="t"/>
            <a:pathLst>
              <a:path extrusionOk="0" h="1303083" w="2322449">
                <a:moveTo>
                  <a:pt x="2322449" y="1185418"/>
                </a:moveTo>
                <a:cubicBezTo>
                  <a:pt x="2322259" y="1177671"/>
                  <a:pt x="2322132" y="1169860"/>
                  <a:pt x="2322132" y="1162050"/>
                </a:cubicBezTo>
                <a:cubicBezTo>
                  <a:pt x="2322132" y="521271"/>
                  <a:pt x="1800860" y="0"/>
                  <a:pt x="1160082" y="0"/>
                </a:cubicBezTo>
                <a:cubicBezTo>
                  <a:pt x="519303" y="0"/>
                  <a:pt x="34544" y="485648"/>
                  <a:pt x="0" y="1095566"/>
                </a:cubicBezTo>
                <a:lnTo>
                  <a:pt x="118745" y="985076"/>
                </a:lnTo>
                <a:lnTo>
                  <a:pt x="228600" y="1103122"/>
                </a:lnTo>
                <a:cubicBezTo>
                  <a:pt x="259080" y="615760"/>
                  <a:pt x="665226" y="228600"/>
                  <a:pt x="1160145" y="228600"/>
                </a:cubicBezTo>
                <a:cubicBezTo>
                  <a:pt x="1655064" y="228600"/>
                  <a:pt x="2093595" y="647319"/>
                  <a:pt x="2093595" y="1162050"/>
                </a:cubicBezTo>
                <a:cubicBezTo>
                  <a:pt x="2093595" y="1172210"/>
                  <a:pt x="2093722" y="1182307"/>
                  <a:pt x="2093976" y="1192403"/>
                </a:cubicBezTo>
                <a:lnTo>
                  <a:pt x="2212976" y="1303084"/>
                </a:lnTo>
                <a:lnTo>
                  <a:pt x="2322449" y="1185354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t/>
            </a:r>
            <a:endParaRPr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876" name="Google Shape;876;g3a8d1f6c51f_7_0"/>
          <p:cNvSpPr/>
          <p:nvPr/>
        </p:nvSpPr>
        <p:spPr>
          <a:xfrm>
            <a:off x="7302921" y="2966009"/>
            <a:ext cx="2322448" cy="1303146"/>
          </a:xfrm>
          <a:custGeom>
            <a:rect b="b" l="l" r="r" t="t"/>
            <a:pathLst>
              <a:path extrusionOk="0" h="1303146" w="2322448">
                <a:moveTo>
                  <a:pt x="2093976" y="110744"/>
                </a:moveTo>
                <a:cubicBezTo>
                  <a:pt x="2093722" y="120840"/>
                  <a:pt x="2093595" y="130937"/>
                  <a:pt x="2093595" y="141097"/>
                </a:cubicBezTo>
                <a:cubicBezTo>
                  <a:pt x="2093595" y="655828"/>
                  <a:pt x="1674876" y="1074547"/>
                  <a:pt x="1160145" y="1074547"/>
                </a:cubicBezTo>
                <a:cubicBezTo>
                  <a:pt x="645413" y="1074547"/>
                  <a:pt x="259080" y="687388"/>
                  <a:pt x="228600" y="200025"/>
                </a:cubicBezTo>
                <a:lnTo>
                  <a:pt x="118745" y="318071"/>
                </a:lnTo>
                <a:lnTo>
                  <a:pt x="0" y="207581"/>
                </a:lnTo>
                <a:cubicBezTo>
                  <a:pt x="34607" y="817499"/>
                  <a:pt x="541655" y="1303147"/>
                  <a:pt x="1160081" y="1303147"/>
                </a:cubicBezTo>
                <a:cubicBezTo>
                  <a:pt x="1778508" y="1303147"/>
                  <a:pt x="2322131" y="781875"/>
                  <a:pt x="2322131" y="141097"/>
                </a:cubicBezTo>
                <a:cubicBezTo>
                  <a:pt x="2322131" y="133286"/>
                  <a:pt x="2322258" y="125476"/>
                  <a:pt x="2322449" y="117729"/>
                </a:cubicBezTo>
                <a:lnTo>
                  <a:pt x="2212975" y="0"/>
                </a:lnTo>
                <a:lnTo>
                  <a:pt x="2093976" y="110680"/>
                </a:lnTo>
                <a:close/>
              </a:path>
            </a:pathLst>
          </a:custGeom>
          <a:solidFill>
            <a:srgbClr val="28DCAA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t/>
            </a:r>
            <a:endParaRPr b="0" sz="1400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877" name="Google Shape;877;g3a8d1f6c51f_7_0"/>
          <p:cNvSpPr/>
          <p:nvPr/>
        </p:nvSpPr>
        <p:spPr>
          <a:xfrm>
            <a:off x="9398484" y="1945056"/>
            <a:ext cx="2322194" cy="1303210"/>
          </a:xfrm>
          <a:custGeom>
            <a:rect b="b" l="l" r="r" t="t"/>
            <a:pathLst>
              <a:path extrusionOk="0" h="1303210" w="2322194">
                <a:moveTo>
                  <a:pt x="1160081" y="0"/>
                </a:moveTo>
                <a:cubicBezTo>
                  <a:pt x="541655" y="0"/>
                  <a:pt x="34544" y="485648"/>
                  <a:pt x="0" y="1095566"/>
                </a:cubicBezTo>
                <a:lnTo>
                  <a:pt x="118745" y="985076"/>
                </a:lnTo>
                <a:lnTo>
                  <a:pt x="228600" y="1103122"/>
                </a:lnTo>
                <a:cubicBezTo>
                  <a:pt x="259080" y="615760"/>
                  <a:pt x="665225" y="228600"/>
                  <a:pt x="1160145" y="228600"/>
                </a:cubicBezTo>
                <a:cubicBezTo>
                  <a:pt x="1655063" y="228600"/>
                  <a:pt x="2093595" y="647319"/>
                  <a:pt x="2093595" y="1162050"/>
                </a:cubicBezTo>
                <a:lnTo>
                  <a:pt x="2093595" y="1188910"/>
                </a:lnTo>
                <a:lnTo>
                  <a:pt x="2207895" y="1303210"/>
                </a:lnTo>
                <a:lnTo>
                  <a:pt x="2322195" y="1188910"/>
                </a:lnTo>
                <a:lnTo>
                  <a:pt x="2322195" y="1162050"/>
                </a:lnTo>
                <a:cubicBezTo>
                  <a:pt x="2322195" y="521271"/>
                  <a:pt x="1800923" y="0"/>
                  <a:pt x="1160145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t/>
            </a:r>
            <a:endParaRPr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878" name="Google Shape;878;g3a8d1f6c51f_7_0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01/10/25</a:t>
            </a:r>
            <a:endParaRPr/>
          </a:p>
        </p:txBody>
      </p:sp>
      <p:sp>
        <p:nvSpPr>
          <p:cNvPr id="879" name="Google Shape;879;g3a8d1f6c51f_7_0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880" name="Google Shape;880;g3a8d1f6c51f_7_0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Fira Sans"/>
              <a:buNone/>
            </a:pPr>
            <a:fld id="{00000000-1234-1234-1234-123412341234}" type="slidenum">
              <a:rPr lang="it-IT">
                <a:solidFill>
                  <a:schemeClr val="lt1"/>
                </a:solidFill>
              </a:rPr>
              <a:t>‹#›</a:t>
            </a:fld>
            <a:endParaRPr>
              <a:solidFill>
                <a:schemeClr val="lt1"/>
              </a:solidFill>
            </a:endParaRPr>
          </a:p>
        </p:txBody>
      </p:sp>
      <p:pic>
        <p:nvPicPr>
          <p:cNvPr id="881" name="Google Shape;881;g3a8d1f6c51f_7_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848925" y="2952817"/>
            <a:ext cx="533400" cy="506730"/>
          </a:xfrm>
          <a:prstGeom prst="rect">
            <a:avLst/>
          </a:prstGeom>
          <a:noFill/>
          <a:ln>
            <a:noFill/>
          </a:ln>
        </p:spPr>
      </p:pic>
      <p:pic>
        <p:nvPicPr>
          <p:cNvPr id="882" name="Google Shape;882;g3a8d1f6c51f_7_0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952299" y="2952820"/>
            <a:ext cx="596152" cy="50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883" name="Google Shape;883;g3a8d1f6c51f_7_0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251701" y="2924666"/>
            <a:ext cx="533400" cy="563033"/>
          </a:xfrm>
          <a:prstGeom prst="rect">
            <a:avLst/>
          </a:prstGeom>
          <a:noFill/>
          <a:ln>
            <a:noFill/>
          </a:ln>
        </p:spPr>
      </p:pic>
      <p:pic>
        <p:nvPicPr>
          <p:cNvPr id="884" name="Google Shape;884;g3a8d1f6c51f_7_0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6118426" y="2931574"/>
            <a:ext cx="563300" cy="549218"/>
          </a:xfrm>
          <a:prstGeom prst="rect">
            <a:avLst/>
          </a:prstGeom>
          <a:noFill/>
          <a:ln>
            <a:noFill/>
          </a:ln>
        </p:spPr>
      </p:pic>
      <p:pic>
        <p:nvPicPr>
          <p:cNvPr id="885" name="Google Shape;885;g3a8d1f6c51f_7_0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0355075" y="2924670"/>
            <a:ext cx="414860" cy="5630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bg>
      <p:bgPr>
        <a:solidFill>
          <a:schemeClr val="dk2"/>
        </a:solidFill>
      </p:bgPr>
    </p:bg>
    <p:spTree>
      <p:nvGrpSpPr>
        <p:cNvPr id="889" name="Shape 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" name="Google Shape;890;g3a84205419e_0_30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Prototipazione &lt; 2024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</a:pPr>
            <a:r>
              <a:t/>
            </a:r>
            <a:endParaRPr/>
          </a:p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t/>
            </a:r>
            <a:endParaRPr/>
          </a:p>
        </p:txBody>
      </p:sp>
      <p:sp>
        <p:nvSpPr>
          <p:cNvPr id="891" name="Google Shape;891;g3a84205419e_0_30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892" name="Google Shape;892;g3a84205419e_0_30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893" name="Google Shape;893;g3a84205419e_0_30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22/11/25</a:t>
            </a:r>
            <a:endParaRPr/>
          </a:p>
        </p:txBody>
      </p:sp>
      <p:pic>
        <p:nvPicPr>
          <p:cNvPr id="894" name="Google Shape;894;g3a84205419e_0_30" title="ChatGPT Image Nov 24, 2025, 05_58_15 PM.png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954825" y="1315201"/>
            <a:ext cx="4555523" cy="45555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898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g3a8d1f6c51f_3_103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400"/>
              <a:buFont typeface="Fira Sans Condensed"/>
              <a:buNone/>
            </a:pPr>
            <a:r>
              <a:rPr lang="it-IT"/>
              <a:t>Tools timeline </a:t>
            </a:r>
            <a:endParaRPr/>
          </a:p>
        </p:txBody>
      </p:sp>
      <p:sp>
        <p:nvSpPr>
          <p:cNvPr id="900" name="Google Shape;900;g3a8d1f6c51f_3_103"/>
          <p:cNvSpPr/>
          <p:nvPr/>
        </p:nvSpPr>
        <p:spPr>
          <a:xfrm>
            <a:off x="407987" y="5589304"/>
            <a:ext cx="11376025" cy="576000"/>
          </a:xfrm>
          <a:prstGeom prst="roundRect">
            <a:avLst>
              <a:gd fmla="val 19844" name="adj"/>
            </a:avLst>
          </a:prstGeom>
          <a:solidFill>
            <a:schemeClr val="lt2"/>
          </a:solidFill>
          <a:ln>
            <a:noFill/>
          </a:ln>
        </p:spPr>
        <p:txBody>
          <a:bodyPr anchorCtr="0" anchor="t" bIns="216000" lIns="216000" spcFirstLastPara="1" rIns="216000" wrap="square" tIns="216000">
            <a:noAutofit/>
          </a:bodyPr>
          <a:lstStyle/>
          <a:p>
            <a:pPr indent="0" lvl="4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None/>
            </a:pPr>
            <a:r>
              <a:t/>
            </a:r>
            <a:endParaRPr b="1" i="0" sz="1600" u="none" cap="none" strike="noStrike">
              <a:solidFill>
                <a:schemeClr val="dk2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graphicFrame>
        <p:nvGraphicFramePr>
          <p:cNvPr id="901" name="Google Shape;901;g3a8d1f6c51f_3_103"/>
          <p:cNvGraphicFramePr/>
          <p:nvPr/>
        </p:nvGraphicFramePr>
        <p:xfrm>
          <a:off x="515380" y="5733304"/>
          <a:ext cx="3000000" cy="3000000"/>
        </p:xfrm>
        <a:graphic>
          <a:graphicData uri="http://schemas.openxmlformats.org/drawingml/2006/table">
            <a:tbl>
              <a:tblPr firstRow="1">
                <a:noFill/>
                <a:tableStyleId>{39331D3E-37EF-42DD-B7F5-46AFAEFFEBB7}</a:tableStyleId>
              </a:tblPr>
              <a:tblGrid>
                <a:gridCol w="930100"/>
                <a:gridCol w="930100"/>
                <a:gridCol w="930100"/>
                <a:gridCol w="930100"/>
                <a:gridCol w="930100"/>
                <a:gridCol w="930100"/>
                <a:gridCol w="930100"/>
                <a:gridCol w="930100"/>
                <a:gridCol w="930100"/>
                <a:gridCol w="930100"/>
                <a:gridCol w="930100"/>
                <a:gridCol w="930100"/>
              </a:tblGrid>
              <a:tr h="288000">
                <a:tc>
                  <a:txBody>
                    <a:bodyPr/>
                    <a:lstStyle/>
                    <a:p>
                      <a:pPr indent="0" lvl="0" marL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0" lang="it-IT"/>
                        <a:t>Q1 2023</a:t>
                      </a:r>
                      <a:endParaRPr/>
                    </a:p>
                  </a:txBody>
                  <a:tcPr marT="0" marB="0" marR="0" marL="0" anchor="ctr">
                    <a:lnL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L>
                    <a:lnR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R>
                    <a:lnT cap="flat" cmpd="sng" w="9525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len="sm" w="sm" type="none"/>
                      <a:tailEnd len="sm" w="sm" type="none"/>
                    </a:lnT>
                    <a:lnB cap="flat" cmpd="sng" w="9525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len="sm" w="sm" type="none"/>
                      <a:tailEnd len="sm" w="sm" type="none"/>
                    </a:lnB>
                  </a:tcPr>
                </a:tc>
                <a:tc>
                  <a:txBody>
                    <a:bodyPr/>
                    <a:lstStyle/>
                    <a:p>
                      <a:pPr indent="0" lvl="0" marL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0" lang="it-IT"/>
                        <a:t>Q2 2023</a:t>
                      </a:r>
                      <a:endParaRPr/>
                    </a:p>
                  </a:txBody>
                  <a:tcPr marT="0" marB="0" marR="0" marL="0" anchor="ctr">
                    <a:lnL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L>
                    <a:lnR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R>
                    <a:lnT cap="flat" cmpd="sng" w="9525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len="sm" w="sm" type="none"/>
                      <a:tailEnd len="sm" w="sm" type="none"/>
                    </a:lnT>
                    <a:lnB cap="flat" cmpd="sng" w="9525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len="sm" w="sm" type="none"/>
                      <a:tailEnd len="sm" w="sm" type="none"/>
                    </a:lnB>
                  </a:tcPr>
                </a:tc>
                <a:tc>
                  <a:txBody>
                    <a:bodyPr/>
                    <a:lstStyle/>
                    <a:p>
                      <a:pPr indent="0" lvl="0" marL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0" lang="it-IT"/>
                        <a:t>Q3 2023</a:t>
                      </a:r>
                      <a:endParaRPr/>
                    </a:p>
                  </a:txBody>
                  <a:tcPr marT="0" marB="0" marR="0" marL="0" anchor="ctr">
                    <a:lnL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L>
                    <a:lnR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R>
                    <a:lnT cap="flat" cmpd="sng" w="9525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len="sm" w="sm" type="none"/>
                      <a:tailEnd len="sm" w="sm" type="none"/>
                    </a:lnT>
                    <a:lnB cap="flat" cmpd="sng" w="9525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len="sm" w="sm" type="none"/>
                      <a:tailEnd len="sm" w="sm" type="none"/>
                    </a:lnB>
                  </a:tcPr>
                </a:tc>
                <a:tc>
                  <a:txBody>
                    <a:bodyPr/>
                    <a:lstStyle/>
                    <a:p>
                      <a:pPr indent="0" lvl="0" marL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0" lang="it-IT"/>
                        <a:t>Q4 2023</a:t>
                      </a:r>
                      <a:endParaRPr/>
                    </a:p>
                  </a:txBody>
                  <a:tcPr marT="0" marB="0" marR="0" marL="0" anchor="ctr">
                    <a:lnL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L>
                    <a:lnR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R>
                    <a:lnT cap="flat" cmpd="sng" w="9525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len="sm" w="sm" type="none"/>
                      <a:tailEnd len="sm" w="sm" type="none"/>
                    </a:lnT>
                    <a:lnB cap="flat" cmpd="sng" w="9525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len="sm" w="sm" type="none"/>
                      <a:tailEnd len="sm" w="sm" type="none"/>
                    </a:lnB>
                  </a:tcPr>
                </a:tc>
                <a:tc>
                  <a:txBody>
                    <a:bodyPr/>
                    <a:lstStyle/>
                    <a:p>
                      <a:pPr indent="0" lvl="0" marL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Font typeface="Arial"/>
                        <a:buNone/>
                      </a:pPr>
                      <a:r>
                        <a:rPr b="0" lang="it-IT"/>
                        <a:t>Q1 2024</a:t>
                      </a:r>
                      <a:endParaRPr/>
                    </a:p>
                  </a:txBody>
                  <a:tcPr marT="0" marB="0" marR="0" marL="0" anchor="ctr">
                    <a:lnL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L>
                    <a:lnR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R>
                    <a:lnB cap="flat" cmpd="sng" w="9525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len="sm" w="sm" type="none"/>
                      <a:tailEnd len="sm" w="sm" type="none"/>
                    </a:lnB>
                  </a:tcPr>
                </a:tc>
                <a:tc>
                  <a:txBody>
                    <a:bodyPr/>
                    <a:lstStyle/>
                    <a:p>
                      <a:pPr indent="0" lvl="0" marL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Font typeface="Arial"/>
                        <a:buNone/>
                      </a:pPr>
                      <a:r>
                        <a:rPr b="0" lang="it-IT"/>
                        <a:t>Q2 2024</a:t>
                      </a:r>
                      <a:endParaRPr/>
                    </a:p>
                  </a:txBody>
                  <a:tcPr marT="0" marB="0" marR="0" marL="0" anchor="ctr">
                    <a:lnL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L>
                    <a:lnR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R>
                    <a:lnB cap="flat" cmpd="sng" w="9525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len="sm" w="sm" type="none"/>
                      <a:tailEnd len="sm" w="sm" type="none"/>
                    </a:lnB>
                  </a:tcPr>
                </a:tc>
                <a:tc>
                  <a:txBody>
                    <a:bodyPr/>
                    <a:lstStyle/>
                    <a:p>
                      <a:pPr indent="0" lvl="0" marL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Font typeface="Arial"/>
                        <a:buNone/>
                      </a:pPr>
                      <a:r>
                        <a:rPr b="0" lang="it-IT"/>
                        <a:t>Q3 2024</a:t>
                      </a:r>
                      <a:endParaRPr/>
                    </a:p>
                  </a:txBody>
                  <a:tcPr marT="0" marB="0" marR="0" marL="0" anchor="ctr">
                    <a:lnL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L>
                    <a:lnR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R>
                    <a:lnB cap="flat" cmpd="sng" w="9525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len="sm" w="sm" type="none"/>
                      <a:tailEnd len="sm" w="sm" type="none"/>
                    </a:lnB>
                  </a:tcPr>
                </a:tc>
                <a:tc>
                  <a:txBody>
                    <a:bodyPr/>
                    <a:lstStyle/>
                    <a:p>
                      <a:pPr indent="0" lvl="0" marL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Font typeface="Arial"/>
                        <a:buNone/>
                      </a:pPr>
                      <a:r>
                        <a:rPr b="0" lang="it-IT"/>
                        <a:t>Q4 2024</a:t>
                      </a:r>
                      <a:endParaRPr/>
                    </a:p>
                  </a:txBody>
                  <a:tcPr marT="0" marB="0" marR="0" marL="0" anchor="ctr">
                    <a:lnL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L>
                    <a:lnR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R>
                    <a:lnB cap="flat" cmpd="sng" w="9525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len="sm" w="sm" type="none"/>
                      <a:tailEnd len="sm" w="sm" type="none"/>
                    </a:lnB>
                  </a:tcPr>
                </a:tc>
                <a:tc>
                  <a:txBody>
                    <a:bodyPr/>
                    <a:lstStyle/>
                    <a:p>
                      <a:pPr indent="0" lvl="0" marL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Font typeface="Arial"/>
                        <a:buNone/>
                      </a:pPr>
                      <a:r>
                        <a:rPr b="0" lang="it-IT"/>
                        <a:t>Q1 2025</a:t>
                      </a:r>
                      <a:endParaRPr/>
                    </a:p>
                  </a:txBody>
                  <a:tcPr marT="0" marB="0" marR="0" marL="0" anchor="ctr">
                    <a:lnL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L>
                    <a:lnR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R>
                    <a:lnB cap="flat" cmpd="sng" w="9525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len="sm" w="sm" type="none"/>
                      <a:tailEnd len="sm" w="sm" type="none"/>
                    </a:lnB>
                  </a:tcPr>
                </a:tc>
                <a:tc>
                  <a:txBody>
                    <a:bodyPr/>
                    <a:lstStyle/>
                    <a:p>
                      <a:pPr indent="0" lvl="0" marL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Font typeface="Arial"/>
                        <a:buNone/>
                      </a:pPr>
                      <a:r>
                        <a:rPr b="0" lang="it-IT"/>
                        <a:t>Q2 2025</a:t>
                      </a:r>
                      <a:endParaRPr/>
                    </a:p>
                  </a:txBody>
                  <a:tcPr marT="0" marB="0" marR="0" marL="0" anchor="ctr">
                    <a:lnL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L>
                    <a:lnR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R>
                    <a:lnB cap="flat" cmpd="sng" w="9525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len="sm" w="sm" type="none"/>
                      <a:tailEnd len="sm" w="sm" type="none"/>
                    </a:lnB>
                  </a:tcPr>
                </a:tc>
                <a:tc>
                  <a:txBody>
                    <a:bodyPr/>
                    <a:lstStyle/>
                    <a:p>
                      <a:pPr indent="0" lvl="0" marL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Font typeface="Arial"/>
                        <a:buNone/>
                      </a:pPr>
                      <a:r>
                        <a:rPr b="0" lang="it-IT"/>
                        <a:t>Q3 2025</a:t>
                      </a:r>
                      <a:endParaRPr/>
                    </a:p>
                  </a:txBody>
                  <a:tcPr marT="0" marB="0" marR="0" marL="0" anchor="ctr">
                    <a:lnL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L>
                    <a:lnR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R>
                    <a:lnB cap="flat" cmpd="sng" w="9525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len="sm" w="sm" type="none"/>
                      <a:tailEnd len="sm" w="sm" type="none"/>
                    </a:lnB>
                  </a:tcPr>
                </a:tc>
                <a:tc>
                  <a:txBody>
                    <a:bodyPr/>
                    <a:lstStyle/>
                    <a:p>
                      <a:pPr indent="0" lvl="0" marL="0" marR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0" lang="it-IT"/>
                        <a:t>Q4 2025</a:t>
                      </a:r>
                      <a:endParaRPr/>
                    </a:p>
                  </a:txBody>
                  <a:tcPr marT="0" marB="0" marR="0" marL="0" anchor="ctr">
                    <a:lnL cap="flat" cmpd="sng" w="9525">
                      <a:solidFill>
                        <a:srgbClr val="ACA49E"/>
                      </a:solidFill>
                      <a:prstDash val="solid"/>
                      <a:round/>
                      <a:headEnd len="sm" w="sm" type="none"/>
                      <a:tailEnd len="sm" w="sm" type="none"/>
                    </a:lnL>
                    <a:lnB cap="flat" cmpd="sng" w="9525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len="sm" w="sm" type="none"/>
                      <a:tailEnd len="sm" w="sm" type="none"/>
                    </a:lnB>
                  </a:tcPr>
                </a:tc>
              </a:tr>
            </a:tbl>
          </a:graphicData>
        </a:graphic>
      </p:graphicFrame>
      <p:cxnSp>
        <p:nvCxnSpPr>
          <p:cNvPr id="902" name="Google Shape;902;g3a8d1f6c51f_3_103"/>
          <p:cNvCxnSpPr/>
          <p:nvPr/>
        </p:nvCxnSpPr>
        <p:spPr>
          <a:xfrm flipH="1" rot="10800000">
            <a:off x="1453645" y="3440816"/>
            <a:ext cx="16500" cy="2040000"/>
          </a:xfrm>
          <a:prstGeom prst="straightConnector1">
            <a:avLst/>
          </a:prstGeom>
          <a:noFill/>
          <a:ln cap="flat" cmpd="sng" w="9525">
            <a:solidFill>
              <a:srgbClr val="CFCBC8"/>
            </a:solidFill>
            <a:prstDash val="solid"/>
            <a:miter lim="800000"/>
            <a:headEnd len="sm" w="sm" type="none"/>
            <a:tailEnd len="sm" w="sm" type="none"/>
          </a:ln>
        </p:spPr>
      </p:cxnSp>
      <p:sp>
        <p:nvSpPr>
          <p:cNvPr id="903" name="Google Shape;903;g3a8d1f6c51f_3_103"/>
          <p:cNvSpPr txBox="1"/>
          <p:nvPr/>
        </p:nvSpPr>
        <p:spPr>
          <a:xfrm>
            <a:off x="1453644" y="3469791"/>
            <a:ext cx="1440000" cy="72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216000" spcFirstLastPara="1" rIns="0" wrap="square" tIns="0">
            <a:noAutofit/>
          </a:bodyPr>
          <a:lstStyle/>
          <a:p>
            <a:pPr indent="0" lvl="4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FCBC8"/>
              </a:buClr>
              <a:buSzPts val="1600"/>
              <a:buFont typeface="Noto Sans Symbols"/>
              <a:buNone/>
            </a:pPr>
            <a:r>
              <a:rPr b="1" lang="it-IT" sz="1600">
                <a:solidFill>
                  <a:srgbClr val="CFCBC8"/>
                </a:solidFill>
                <a:latin typeface="Fira Sans"/>
                <a:ea typeface="Fira Sans"/>
                <a:cs typeface="Fira Sans"/>
                <a:sym typeface="Fira Sans"/>
              </a:rPr>
              <a:t>Integrazione IDE</a:t>
            </a:r>
            <a:endParaRPr/>
          </a:p>
          <a:p>
            <a:pPr indent="0" lvl="6" marL="0" marR="0" rtl="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</a:pPr>
            <a:r>
              <a:rPr lang="it-IT" sz="1000">
                <a:solidFill>
                  <a:srgbClr val="CFCBC8"/>
                </a:solidFill>
                <a:latin typeface="Fira Sans"/>
                <a:ea typeface="Fira Sans"/>
                <a:cs typeface="Fira Sans"/>
                <a:sym typeface="Fira Sans"/>
              </a:rPr>
              <a:t>Cursor</a:t>
            </a:r>
            <a:endParaRPr/>
          </a:p>
        </p:txBody>
      </p:sp>
      <p:cxnSp>
        <p:nvCxnSpPr>
          <p:cNvPr id="904" name="Google Shape;904;g3a8d1f6c51f_3_103"/>
          <p:cNvCxnSpPr/>
          <p:nvPr/>
        </p:nvCxnSpPr>
        <p:spPr>
          <a:xfrm rot="10800000">
            <a:off x="407368" y="2745513"/>
            <a:ext cx="0" cy="2736125"/>
          </a:xfrm>
          <a:prstGeom prst="straightConnector1">
            <a:avLst/>
          </a:prstGeom>
          <a:noFill/>
          <a:ln cap="flat" cmpd="sng" w="9525">
            <a:solidFill>
              <a:srgbClr val="CFCBC8"/>
            </a:solidFill>
            <a:prstDash val="solid"/>
            <a:miter lim="800000"/>
            <a:headEnd len="sm" w="sm" type="none"/>
            <a:tailEnd len="sm" w="sm" type="none"/>
          </a:ln>
        </p:spPr>
      </p:cxnSp>
      <p:cxnSp>
        <p:nvCxnSpPr>
          <p:cNvPr id="905" name="Google Shape;905;g3a8d1f6c51f_3_103"/>
          <p:cNvCxnSpPr/>
          <p:nvPr/>
        </p:nvCxnSpPr>
        <p:spPr>
          <a:xfrm rot="10800000">
            <a:off x="7222425" y="1818181"/>
            <a:ext cx="0" cy="3708000"/>
          </a:xfrm>
          <a:prstGeom prst="straightConnector1">
            <a:avLst/>
          </a:prstGeom>
          <a:noFill/>
          <a:ln cap="flat" cmpd="sng" w="9525">
            <a:solidFill>
              <a:srgbClr val="28DCAA"/>
            </a:solidFill>
            <a:prstDash val="solid"/>
            <a:miter lim="800000"/>
            <a:headEnd len="sm" w="sm" type="none"/>
            <a:tailEnd len="sm" w="sm" type="none"/>
          </a:ln>
        </p:spPr>
      </p:cxnSp>
      <p:sp>
        <p:nvSpPr>
          <p:cNvPr id="906" name="Google Shape;906;g3a8d1f6c51f_3_103"/>
          <p:cNvSpPr txBox="1"/>
          <p:nvPr/>
        </p:nvSpPr>
        <p:spPr>
          <a:xfrm>
            <a:off x="7222425" y="1818181"/>
            <a:ext cx="1440000" cy="72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216000" spcFirstLastPara="1" rIns="0" wrap="square" tIns="0">
            <a:noAutofit/>
          </a:bodyPr>
          <a:lstStyle/>
          <a:p>
            <a:pPr indent="0" lvl="6" marL="0" marR="0" rtl="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</a:pPr>
            <a:r>
              <a:rPr b="1" lang="it-IT" sz="16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Replit Agent</a:t>
            </a:r>
            <a:endParaRPr b="0" i="0" sz="1000" u="none" cap="none" strike="noStrike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cxnSp>
        <p:nvCxnSpPr>
          <p:cNvPr id="907" name="Google Shape;907;g3a8d1f6c51f_3_103"/>
          <p:cNvCxnSpPr/>
          <p:nvPr/>
        </p:nvCxnSpPr>
        <p:spPr>
          <a:xfrm rot="10800000">
            <a:off x="7452496" y="2787713"/>
            <a:ext cx="0" cy="2736000"/>
          </a:xfrm>
          <a:prstGeom prst="straightConnector1">
            <a:avLst/>
          </a:prstGeom>
          <a:noFill/>
          <a:ln cap="flat" cmpd="sng" w="9525">
            <a:solidFill>
              <a:srgbClr val="28DCAA"/>
            </a:solidFill>
            <a:prstDash val="solid"/>
            <a:miter lim="800000"/>
            <a:headEnd len="sm" w="sm" type="none"/>
            <a:tailEnd len="sm" w="sm" type="none"/>
          </a:ln>
        </p:spPr>
      </p:cxnSp>
      <p:sp>
        <p:nvSpPr>
          <p:cNvPr id="908" name="Google Shape;908;g3a8d1f6c51f_3_103"/>
          <p:cNvSpPr txBox="1"/>
          <p:nvPr/>
        </p:nvSpPr>
        <p:spPr>
          <a:xfrm>
            <a:off x="7452496" y="2787588"/>
            <a:ext cx="1440000" cy="72000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txBody>
          <a:bodyPr anchorCtr="0" anchor="t" bIns="0" lIns="216000" spcFirstLastPara="1" rIns="0" wrap="square" tIns="0">
            <a:noAutofit/>
          </a:bodyPr>
          <a:lstStyle/>
          <a:p>
            <a:pPr indent="0" lvl="4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None/>
            </a:pPr>
            <a:r>
              <a:rPr b="1" lang="it-IT" sz="16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Bolt.new</a:t>
            </a:r>
            <a:endParaRPr>
              <a:solidFill>
                <a:schemeClr val="lt1"/>
              </a:solidFill>
            </a:endParaRPr>
          </a:p>
          <a:p>
            <a:pPr indent="0" lvl="6" marL="0" marR="0" rtl="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</a:pPr>
            <a:r>
              <a:t/>
            </a:r>
            <a:endParaRPr>
              <a:solidFill>
                <a:schemeClr val="lt1"/>
              </a:solidFill>
            </a:endParaRPr>
          </a:p>
        </p:txBody>
      </p:sp>
      <p:cxnSp>
        <p:nvCxnSpPr>
          <p:cNvPr id="909" name="Google Shape;909;g3a8d1f6c51f_3_103"/>
          <p:cNvCxnSpPr/>
          <p:nvPr/>
        </p:nvCxnSpPr>
        <p:spPr>
          <a:xfrm rot="10800000">
            <a:off x="7603487" y="3766199"/>
            <a:ext cx="0" cy="1764600"/>
          </a:xfrm>
          <a:prstGeom prst="straightConnector1">
            <a:avLst/>
          </a:prstGeom>
          <a:noFill/>
          <a:ln cap="flat" cmpd="sng" w="9525">
            <a:solidFill>
              <a:srgbClr val="28DCAA"/>
            </a:solidFill>
            <a:prstDash val="solid"/>
            <a:miter lim="800000"/>
            <a:headEnd len="sm" w="sm" type="none"/>
            <a:tailEnd len="sm" w="sm" type="none"/>
          </a:ln>
        </p:spPr>
      </p:cxnSp>
      <p:sp>
        <p:nvSpPr>
          <p:cNvPr id="910" name="Google Shape;910;g3a8d1f6c51f_3_103"/>
          <p:cNvSpPr txBox="1"/>
          <p:nvPr/>
        </p:nvSpPr>
        <p:spPr>
          <a:xfrm>
            <a:off x="7603487" y="3766193"/>
            <a:ext cx="1440000" cy="72000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txBody>
          <a:bodyPr anchorCtr="0" anchor="t" bIns="0" lIns="216000" spcFirstLastPara="1" rIns="0" wrap="square" tIns="0">
            <a:noAutofit/>
          </a:bodyPr>
          <a:lstStyle/>
          <a:p>
            <a:pPr indent="0" lvl="6" marL="0" marR="0" rtl="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</a:pPr>
            <a:r>
              <a:rPr b="1" lang="it-IT" sz="16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Lovable</a:t>
            </a:r>
            <a:endParaRPr>
              <a:solidFill>
                <a:schemeClr val="lt1"/>
              </a:solidFill>
            </a:endParaRPr>
          </a:p>
        </p:txBody>
      </p:sp>
      <p:cxnSp>
        <p:nvCxnSpPr>
          <p:cNvPr id="911" name="Google Shape;911;g3a8d1f6c51f_3_103"/>
          <p:cNvCxnSpPr/>
          <p:nvPr/>
        </p:nvCxnSpPr>
        <p:spPr>
          <a:xfrm rot="10800000">
            <a:off x="6132120" y="2796130"/>
            <a:ext cx="0" cy="2736000"/>
          </a:xfrm>
          <a:prstGeom prst="straightConnector1">
            <a:avLst/>
          </a:prstGeom>
          <a:noFill/>
          <a:ln cap="flat" cmpd="sng" w="9525">
            <a:solidFill>
              <a:srgbClr val="28DCAA"/>
            </a:solidFill>
            <a:prstDash val="solid"/>
            <a:miter lim="800000"/>
            <a:headEnd len="sm" w="sm" type="none"/>
            <a:tailEnd len="sm" w="sm" type="none"/>
          </a:ln>
        </p:spPr>
      </p:cxnSp>
      <p:sp>
        <p:nvSpPr>
          <p:cNvPr id="912" name="Google Shape;912;g3a8d1f6c51f_3_103"/>
          <p:cNvSpPr txBox="1"/>
          <p:nvPr/>
        </p:nvSpPr>
        <p:spPr>
          <a:xfrm>
            <a:off x="6128186" y="2897965"/>
            <a:ext cx="909900" cy="72000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txBody>
          <a:bodyPr anchorCtr="0" anchor="t" bIns="0" lIns="216000" spcFirstLastPara="1" rIns="0" wrap="square" tIns="0">
            <a:noAutofit/>
          </a:bodyPr>
          <a:lstStyle/>
          <a:p>
            <a:pPr indent="0" lvl="4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None/>
            </a:pPr>
            <a:r>
              <a:rPr b="1" lang="it-IT" sz="16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Claude</a:t>
            </a:r>
            <a:endParaRPr>
              <a:solidFill>
                <a:schemeClr val="lt1"/>
              </a:solidFill>
            </a:endParaRPr>
          </a:p>
          <a:p>
            <a:pPr indent="0" lvl="6" marL="0" marR="0" rtl="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</a:pPr>
            <a:r>
              <a:rPr lang="it-IT" sz="10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Sonnet 3.5 + Artifact</a:t>
            </a:r>
            <a:endParaRPr>
              <a:solidFill>
                <a:schemeClr val="lt1"/>
              </a:solidFill>
            </a:endParaRPr>
          </a:p>
        </p:txBody>
      </p:sp>
      <p:cxnSp>
        <p:nvCxnSpPr>
          <p:cNvPr id="913" name="Google Shape;913;g3a8d1f6c51f_3_103"/>
          <p:cNvCxnSpPr/>
          <p:nvPr/>
        </p:nvCxnSpPr>
        <p:spPr>
          <a:xfrm flipH="1" rot="10800000">
            <a:off x="11354998" y="2739379"/>
            <a:ext cx="9600" cy="2819400"/>
          </a:xfrm>
          <a:prstGeom prst="straightConnector1">
            <a:avLst/>
          </a:prstGeom>
          <a:noFill/>
          <a:ln cap="flat" cmpd="sng" w="9525">
            <a:solidFill>
              <a:srgbClr val="28DCAA"/>
            </a:solidFill>
            <a:prstDash val="solid"/>
            <a:miter lim="800000"/>
            <a:headEnd len="sm" w="sm" type="none"/>
            <a:tailEnd len="sm" w="sm" type="none"/>
          </a:ln>
        </p:spPr>
      </p:cxnSp>
      <p:sp>
        <p:nvSpPr>
          <p:cNvPr id="914" name="Google Shape;914;g3a8d1f6c51f_3_103"/>
          <p:cNvSpPr txBox="1"/>
          <p:nvPr/>
        </p:nvSpPr>
        <p:spPr>
          <a:xfrm>
            <a:off x="9924598" y="2739382"/>
            <a:ext cx="1440000" cy="72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216000" spcFirstLastPara="1" rIns="0" wrap="square" tIns="0">
            <a:noAutofit/>
          </a:bodyPr>
          <a:lstStyle/>
          <a:p>
            <a:pPr indent="0" lvl="4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None/>
            </a:pPr>
            <a:r>
              <a:rPr b="1" lang="it-IT" sz="16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Antigravity</a:t>
            </a:r>
            <a:endParaRPr>
              <a:solidFill>
                <a:schemeClr val="lt1"/>
              </a:solidFill>
            </a:endParaRPr>
          </a:p>
          <a:p>
            <a:pPr indent="0" lvl="6" marL="0" marR="0" rtl="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</a:pPr>
            <a:r>
              <a:t/>
            </a:r>
            <a:endParaRPr>
              <a:solidFill>
                <a:schemeClr val="lt1"/>
              </a:solidFill>
            </a:endParaRPr>
          </a:p>
        </p:txBody>
      </p:sp>
      <p:sp>
        <p:nvSpPr>
          <p:cNvPr id="915" name="Google Shape;915;g3a8d1f6c51f_3_103"/>
          <p:cNvSpPr txBox="1"/>
          <p:nvPr/>
        </p:nvSpPr>
        <p:spPr>
          <a:xfrm>
            <a:off x="5588999" y="1221448"/>
            <a:ext cx="1008300" cy="288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4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None/>
            </a:pPr>
            <a:r>
              <a:rPr b="1" lang="it-IT" sz="16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Change</a:t>
            </a:r>
            <a:endParaRPr>
              <a:solidFill>
                <a:schemeClr val="lt1"/>
              </a:solidFill>
            </a:endParaRPr>
          </a:p>
        </p:txBody>
      </p:sp>
      <p:sp>
        <p:nvSpPr>
          <p:cNvPr id="916" name="Google Shape;916;g3a8d1f6c51f_3_103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01/10/25</a:t>
            </a:r>
            <a:endParaRPr/>
          </a:p>
        </p:txBody>
      </p:sp>
      <p:sp>
        <p:nvSpPr>
          <p:cNvPr id="917" name="Google Shape;917;g3a8d1f6c51f_3_103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918" name="Google Shape;918;g3a8d1f6c51f_3_103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Fira Sans"/>
              <a:buNone/>
            </a:pPr>
            <a:fld id="{00000000-1234-1234-1234-123412341234}" type="slidenum">
              <a:rPr lang="it-IT">
                <a:solidFill>
                  <a:schemeClr val="lt1"/>
                </a:solidFill>
              </a:rPr>
              <a:t>‹#›</a:t>
            </a:fld>
            <a:endParaRPr>
              <a:solidFill>
                <a:schemeClr val="lt1"/>
              </a:solidFill>
            </a:endParaRPr>
          </a:p>
        </p:txBody>
      </p:sp>
      <p:sp>
        <p:nvSpPr>
          <p:cNvPr id="919" name="Google Shape;919;g3a8d1f6c51f_3_103"/>
          <p:cNvSpPr txBox="1"/>
          <p:nvPr/>
        </p:nvSpPr>
        <p:spPr>
          <a:xfrm>
            <a:off x="407375" y="2745525"/>
            <a:ext cx="1476300" cy="12072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216000" spcFirstLastPara="1" rIns="0" wrap="square" tIns="0">
            <a:noAutofit/>
          </a:bodyPr>
          <a:lstStyle/>
          <a:p>
            <a:pPr indent="0" lvl="4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FCBC8"/>
              </a:buClr>
              <a:buSzPts val="1600"/>
              <a:buFont typeface="Noto Sans Symbols"/>
              <a:buNone/>
            </a:pPr>
            <a:r>
              <a:rPr b="1" lang="it-IT" sz="1500">
                <a:solidFill>
                  <a:srgbClr val="CFCBC8"/>
                </a:solidFill>
                <a:latin typeface="Fira Sans"/>
                <a:ea typeface="Fira Sans"/>
                <a:cs typeface="Fira Sans"/>
                <a:sym typeface="Fira Sans"/>
              </a:rPr>
              <a:t>2022</a:t>
            </a:r>
            <a:endParaRPr b="1" sz="1500">
              <a:solidFill>
                <a:srgbClr val="CFCBC8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4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FCBC8"/>
              </a:buClr>
              <a:buSzPts val="1600"/>
              <a:buFont typeface="Noto Sans Symbols"/>
              <a:buNone/>
            </a:pPr>
            <a:r>
              <a:rPr b="1" lang="it-IT" sz="1500">
                <a:solidFill>
                  <a:srgbClr val="CFCBC8"/>
                </a:solidFill>
                <a:latin typeface="Fira Sans"/>
                <a:ea typeface="Fira Sans"/>
                <a:cs typeface="Fira Sans"/>
                <a:sym typeface="Fira Sans"/>
              </a:rPr>
              <a:t>Autocomplete</a:t>
            </a:r>
            <a:endParaRPr sz="1300"/>
          </a:p>
          <a:p>
            <a:pPr indent="0" lvl="6" marL="0" marR="0" rtl="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</a:pPr>
            <a:r>
              <a:rPr lang="it-IT" sz="1000">
                <a:solidFill>
                  <a:srgbClr val="CFCBC8"/>
                </a:solidFill>
                <a:latin typeface="Fira Sans"/>
                <a:ea typeface="Fira Sans"/>
                <a:cs typeface="Fira Sans"/>
                <a:sym typeface="Fira Sans"/>
              </a:rPr>
              <a:t>-Copilot</a:t>
            </a:r>
            <a:endParaRPr sz="1000">
              <a:solidFill>
                <a:srgbClr val="CFCBC8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6" marL="0" marR="0" rtl="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</a:pPr>
            <a:r>
              <a:rPr lang="it-IT" sz="1000">
                <a:solidFill>
                  <a:srgbClr val="CFCBC8"/>
                </a:solidFill>
                <a:latin typeface="Fira Sans"/>
                <a:ea typeface="Fira Sans"/>
                <a:cs typeface="Fira Sans"/>
                <a:sym typeface="Fira Sans"/>
              </a:rPr>
              <a:t>-Codex</a:t>
            </a:r>
            <a:endParaRPr sz="1000">
              <a:solidFill>
                <a:srgbClr val="CFCBC8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6" marL="0" marR="0" rtl="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</a:pPr>
            <a:r>
              <a:rPr lang="it-IT" sz="1000">
                <a:solidFill>
                  <a:srgbClr val="CFCBC8"/>
                </a:solidFill>
                <a:latin typeface="Fira Sans"/>
                <a:ea typeface="Fira Sans"/>
                <a:cs typeface="Fira Sans"/>
                <a:sym typeface="Fira Sans"/>
              </a:rPr>
              <a:t>-Replit</a:t>
            </a:r>
            <a:endParaRPr sz="1000">
              <a:solidFill>
                <a:srgbClr val="CFCBC8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cxnSp>
        <p:nvCxnSpPr>
          <p:cNvPr id="920" name="Google Shape;920;g3a8d1f6c51f_3_103"/>
          <p:cNvCxnSpPr/>
          <p:nvPr/>
        </p:nvCxnSpPr>
        <p:spPr>
          <a:xfrm flipH="1" rot="10800000">
            <a:off x="10396590" y="4112688"/>
            <a:ext cx="6900" cy="1458900"/>
          </a:xfrm>
          <a:prstGeom prst="straightConnector1">
            <a:avLst/>
          </a:prstGeom>
          <a:noFill/>
          <a:ln cap="flat" cmpd="sng" w="9525">
            <a:solidFill>
              <a:srgbClr val="28DCAA"/>
            </a:solidFill>
            <a:prstDash val="solid"/>
            <a:miter lim="800000"/>
            <a:headEnd len="sm" w="sm" type="none"/>
            <a:tailEnd len="sm" w="sm" type="none"/>
          </a:ln>
        </p:spPr>
      </p:cxnSp>
      <p:sp>
        <p:nvSpPr>
          <p:cNvPr id="921" name="Google Shape;921;g3a8d1f6c51f_3_103"/>
          <p:cNvSpPr txBox="1"/>
          <p:nvPr/>
        </p:nvSpPr>
        <p:spPr>
          <a:xfrm>
            <a:off x="8023553" y="5022653"/>
            <a:ext cx="1440000" cy="72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216000" spcFirstLastPara="1" rIns="0" wrap="square" tIns="0">
            <a:noAutofit/>
          </a:bodyPr>
          <a:lstStyle/>
          <a:p>
            <a:pPr indent="0" lvl="4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None/>
            </a:pPr>
            <a:r>
              <a:rPr b="1" lang="it-IT" sz="16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Cloude Code</a:t>
            </a:r>
            <a:endParaRPr>
              <a:solidFill>
                <a:schemeClr val="lt1"/>
              </a:solidFill>
            </a:endParaRPr>
          </a:p>
          <a:p>
            <a:pPr indent="0" lvl="6" marL="0" marR="0" rtl="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</a:pPr>
            <a:r>
              <a:t/>
            </a:r>
            <a:endParaRPr>
              <a:solidFill>
                <a:schemeClr val="lt1"/>
              </a:solidFill>
            </a:endParaRPr>
          </a:p>
        </p:txBody>
      </p:sp>
      <p:cxnSp>
        <p:nvCxnSpPr>
          <p:cNvPr id="922" name="Google Shape;922;g3a8d1f6c51f_3_103"/>
          <p:cNvCxnSpPr/>
          <p:nvPr/>
        </p:nvCxnSpPr>
        <p:spPr>
          <a:xfrm flipH="1" rot="10800000">
            <a:off x="9454965" y="5022652"/>
            <a:ext cx="6600" cy="527700"/>
          </a:xfrm>
          <a:prstGeom prst="straightConnector1">
            <a:avLst/>
          </a:prstGeom>
          <a:noFill/>
          <a:ln cap="flat" cmpd="sng" w="9525">
            <a:solidFill>
              <a:srgbClr val="28DCAA"/>
            </a:solidFill>
            <a:prstDash val="solid"/>
            <a:miter lim="800000"/>
            <a:headEnd len="sm" w="sm" type="none"/>
            <a:tailEnd len="sm" w="sm" type="none"/>
          </a:ln>
        </p:spPr>
      </p:cxnSp>
      <p:sp>
        <p:nvSpPr>
          <p:cNvPr id="923" name="Google Shape;923;g3a8d1f6c51f_3_103"/>
          <p:cNvSpPr txBox="1"/>
          <p:nvPr/>
        </p:nvSpPr>
        <p:spPr>
          <a:xfrm>
            <a:off x="8963499" y="4137859"/>
            <a:ext cx="1440000" cy="72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216000" spcFirstLastPara="1" rIns="0" wrap="square" tIns="0">
            <a:noAutofit/>
          </a:bodyPr>
          <a:lstStyle/>
          <a:p>
            <a:pPr indent="0" lvl="6" marL="0" marR="0" rtl="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</a:pPr>
            <a:r>
              <a:rPr b="1" lang="it-IT" sz="16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Gemini CLI</a:t>
            </a:r>
            <a:endParaRPr>
              <a:solidFill>
                <a:schemeClr val="lt1"/>
              </a:solidFill>
            </a:endParaRPr>
          </a:p>
        </p:txBody>
      </p:sp>
      <p:cxnSp>
        <p:nvCxnSpPr>
          <p:cNvPr id="924" name="Google Shape;924;g3a8d1f6c51f_3_103"/>
          <p:cNvCxnSpPr/>
          <p:nvPr/>
        </p:nvCxnSpPr>
        <p:spPr>
          <a:xfrm flipH="1" rot="10800000">
            <a:off x="11125240" y="3167313"/>
            <a:ext cx="21900" cy="2405100"/>
          </a:xfrm>
          <a:prstGeom prst="straightConnector1">
            <a:avLst/>
          </a:prstGeom>
          <a:noFill/>
          <a:ln cap="flat" cmpd="sng" w="9525">
            <a:solidFill>
              <a:srgbClr val="28DCAA"/>
            </a:solidFill>
            <a:prstDash val="solid"/>
            <a:miter lim="800000"/>
            <a:headEnd len="sm" w="sm" type="none"/>
            <a:tailEnd len="sm" w="sm" type="none"/>
          </a:ln>
        </p:spPr>
      </p:cxnSp>
      <p:sp>
        <p:nvSpPr>
          <p:cNvPr id="925" name="Google Shape;925;g3a8d1f6c51f_3_103"/>
          <p:cNvSpPr txBox="1"/>
          <p:nvPr/>
        </p:nvSpPr>
        <p:spPr>
          <a:xfrm>
            <a:off x="9657190" y="3230991"/>
            <a:ext cx="1440000" cy="72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216000" spcFirstLastPara="1" rIns="0" wrap="square" tIns="0">
            <a:noAutofit/>
          </a:bodyPr>
          <a:lstStyle/>
          <a:p>
            <a:pPr indent="0" lvl="4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None/>
            </a:pPr>
            <a:r>
              <a:rPr b="1" lang="it-IT" sz="16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Cloude Code</a:t>
            </a:r>
            <a:endParaRPr b="1" sz="160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4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 Symbols"/>
              <a:buNone/>
            </a:pPr>
            <a:r>
              <a:rPr b="1" lang="it-IT" sz="16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WEB</a:t>
            </a:r>
            <a:endParaRPr b="1" sz="160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indent="0" lvl="6" marL="0" marR="0" rtl="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</a:pPr>
            <a:r>
              <a:t/>
            </a:r>
            <a:endParaRPr>
              <a:solidFill>
                <a:schemeClr val="lt1"/>
              </a:solidFill>
            </a:endParaRPr>
          </a:p>
        </p:txBody>
      </p:sp>
      <p:cxnSp>
        <p:nvCxnSpPr>
          <p:cNvPr id="926" name="Google Shape;926;g3a8d1f6c51f_3_103"/>
          <p:cNvCxnSpPr/>
          <p:nvPr/>
        </p:nvCxnSpPr>
        <p:spPr>
          <a:xfrm flipH="1" rot="10800000">
            <a:off x="7726853" y="4269478"/>
            <a:ext cx="2400" cy="1256700"/>
          </a:xfrm>
          <a:prstGeom prst="straightConnector1">
            <a:avLst/>
          </a:prstGeom>
          <a:noFill/>
          <a:ln cap="flat" cmpd="sng" w="9525">
            <a:solidFill>
              <a:srgbClr val="28DCAA"/>
            </a:solidFill>
            <a:prstDash val="solid"/>
            <a:miter lim="800000"/>
            <a:headEnd len="sm" w="sm" type="none"/>
            <a:tailEnd len="sm" w="sm" type="none"/>
          </a:ln>
        </p:spPr>
      </p:cxnSp>
      <p:sp>
        <p:nvSpPr>
          <p:cNvPr id="927" name="Google Shape;927;g3a8d1f6c51f_3_103"/>
          <p:cNvSpPr txBox="1"/>
          <p:nvPr/>
        </p:nvSpPr>
        <p:spPr>
          <a:xfrm>
            <a:off x="7726562" y="4288493"/>
            <a:ext cx="1440000" cy="72000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txBody>
          <a:bodyPr anchorCtr="0" anchor="t" bIns="0" lIns="216000" spcFirstLastPara="1" rIns="0" wrap="square" tIns="0">
            <a:noAutofit/>
          </a:bodyPr>
          <a:lstStyle/>
          <a:p>
            <a:pPr indent="0" lvl="6" marL="0" marR="0" rtl="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Fira Sans"/>
              <a:buNone/>
            </a:pPr>
            <a:r>
              <a:rPr b="1" lang="it-IT" sz="160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WindSurf</a:t>
            </a:r>
            <a:endParaRPr>
              <a:solidFill>
                <a:schemeClr val="lt1"/>
              </a:solidFill>
            </a:endParaRPr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fill="hold" nodeType="with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931" name="Shape 9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2" name="Google Shape;932;p6"/>
          <p:cNvSpPr txBox="1"/>
          <p:nvPr>
            <p:ph type="title"/>
          </p:nvPr>
        </p:nvSpPr>
        <p:spPr>
          <a:xfrm>
            <a:off x="1055689" y="512796"/>
            <a:ext cx="51117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Una nuova libreria di strumenti</a:t>
            </a:r>
            <a:endParaRPr/>
          </a:p>
        </p:txBody>
      </p:sp>
      <p:sp>
        <p:nvSpPr>
          <p:cNvPr id="933" name="Google Shape;933;p6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Fira Sans"/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934" name="Google Shape;934;p6"/>
          <p:cNvSpPr txBox="1"/>
          <p:nvPr>
            <p:ph idx="11" type="ftr"/>
          </p:nvPr>
        </p:nvSpPr>
        <p:spPr>
          <a:xfrm>
            <a:off x="1055687" y="6453000"/>
            <a:ext cx="47529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935" name="Google Shape;935;p6"/>
          <p:cNvSpPr txBox="1"/>
          <p:nvPr>
            <p:ph idx="10" type="dt"/>
          </p:nvPr>
        </p:nvSpPr>
        <p:spPr>
          <a:xfrm>
            <a:off x="6888000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22/11/25</a:t>
            </a:r>
            <a:endParaRPr/>
          </a:p>
        </p:txBody>
      </p:sp>
      <p:sp>
        <p:nvSpPr>
          <p:cNvPr id="936" name="Google Shape;936;p6"/>
          <p:cNvSpPr txBox="1"/>
          <p:nvPr>
            <p:ph idx="1" type="body"/>
          </p:nvPr>
        </p:nvSpPr>
        <p:spPr>
          <a:xfrm>
            <a:off x="1056001" y="1772388"/>
            <a:ext cx="5111400" cy="43926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-317500" lvl="0" marL="457200" rtl="0" algn="l">
              <a:spcBef>
                <a:spcPts val="200"/>
              </a:spcBef>
              <a:spcAft>
                <a:spcPts val="0"/>
              </a:spcAft>
              <a:buSzPts val="1400"/>
              <a:buChar char="-"/>
            </a:pPr>
            <a:r>
              <a:rPr lang="it-IT"/>
              <a:t>Lovalble</a:t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-"/>
            </a:pPr>
            <a:r>
              <a:rPr lang="it-IT"/>
              <a:t>Bolt.new</a:t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-"/>
            </a:pPr>
            <a:r>
              <a:rPr lang="it-IT"/>
              <a:t>Google Ai Studio</a:t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-"/>
            </a:pPr>
            <a:r>
              <a:rPr lang="it-IT"/>
              <a:t>Replit</a:t>
            </a:r>
            <a:endParaRPr/>
          </a:p>
          <a:p>
            <a:pPr indent="0" lvl="0" marL="457200" rtl="0" algn="l">
              <a:spcBef>
                <a:spcPts val="20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-317500" lvl="0" marL="457200" rtl="0" algn="l">
              <a:spcBef>
                <a:spcPts val="200"/>
              </a:spcBef>
              <a:spcAft>
                <a:spcPts val="0"/>
              </a:spcAft>
              <a:buSzPts val="1400"/>
              <a:buChar char="-"/>
            </a:pPr>
            <a:r>
              <a:rPr lang="it-IT"/>
              <a:t>Claude Code</a:t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-"/>
            </a:pPr>
            <a:r>
              <a:rPr lang="it-IT"/>
              <a:t>Gemini CLI</a:t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-"/>
            </a:pPr>
            <a:r>
              <a:rPr lang="it-IT"/>
              <a:t>Codex</a:t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-"/>
            </a:pPr>
            <a:r>
              <a:rPr lang="it-IT"/>
              <a:t>Cursor</a:t>
            </a:r>
            <a:endParaRPr/>
          </a:p>
          <a:p>
            <a:pPr indent="-317500" lvl="0" marL="457200" rtl="0" algn="l">
              <a:spcBef>
                <a:spcPts val="0"/>
              </a:spcBef>
              <a:spcAft>
                <a:spcPts val="0"/>
              </a:spcAft>
              <a:buSzPts val="1400"/>
              <a:buChar char="-"/>
            </a:pPr>
            <a:r>
              <a:rPr lang="it-IT"/>
              <a:t>GitHub Copilot</a:t>
            </a:r>
            <a:endParaRPr/>
          </a:p>
        </p:txBody>
      </p:sp>
      <p:pic>
        <p:nvPicPr>
          <p:cNvPr id="937" name="Google Shape;937;p6" title="Gemini_Generated_Image_cvbw1ncvbw1ncvbw.png"/>
          <p:cNvPicPr preferRelativeResize="0"/>
          <p:nvPr>
            <p:ph idx="2" type="pic"/>
          </p:nvPr>
        </p:nvPicPr>
        <p:blipFill rotWithShape="1">
          <a:blip r:embed="rId3">
            <a:alphaModFix/>
          </a:blip>
          <a:srcRect b="0" l="10386" r="10386" t="0"/>
          <a:stretch/>
        </p:blipFill>
        <p:spPr>
          <a:xfrm>
            <a:off x="6672262" y="0"/>
            <a:ext cx="5519698" cy="6857999"/>
          </a:xfrm>
          <a:prstGeom prst="rect">
            <a:avLst/>
          </a:prstGeom>
        </p:spPr>
      </p:pic>
      <p:sp>
        <p:nvSpPr>
          <p:cNvPr id="938" name="Google Shape;938;p6"/>
          <p:cNvSpPr txBox="1"/>
          <p:nvPr>
            <p:ph idx="3" type="body"/>
          </p:nvPr>
        </p:nvSpPr>
        <p:spPr>
          <a:xfrm>
            <a:off x="6672250" y="0"/>
            <a:ext cx="5519700" cy="6858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bg>
      <p:bgPr>
        <a:blipFill>
          <a:blip r:embed="rId3">
            <a:alphaModFix/>
          </a:blip>
          <a:stretch>
            <a:fillRect/>
          </a:stretch>
        </a:blipFill>
      </p:bgPr>
    </p:bg>
    <p:spTree>
      <p:nvGrpSpPr>
        <p:cNvPr id="942" name="Shape 9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3" name="Google Shape;943;p4"/>
          <p:cNvSpPr txBox="1"/>
          <p:nvPr>
            <p:ph type="title"/>
          </p:nvPr>
        </p:nvSpPr>
        <p:spPr>
          <a:xfrm>
            <a:off x="1055687" y="512676"/>
            <a:ext cx="10728000" cy="1080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rm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Game Change</a:t>
            </a:r>
            <a:endParaRPr/>
          </a:p>
        </p:txBody>
      </p:sp>
      <p:sp>
        <p:nvSpPr>
          <p:cNvPr id="944" name="Google Shape;944;p4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rm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945" name="Google Shape;945;p4"/>
          <p:cNvSpPr txBox="1"/>
          <p:nvPr>
            <p:ph idx="11" type="ftr"/>
          </p:nvPr>
        </p:nvSpPr>
        <p:spPr>
          <a:xfrm>
            <a:off x="1055687" y="6453000"/>
            <a:ext cx="4968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rm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946" name="Google Shape;946;p4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rm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22/11/25</a:t>
            </a:r>
            <a:endParaRPr/>
          </a:p>
        </p:txBody>
      </p:sp>
      <p:sp>
        <p:nvSpPr>
          <p:cNvPr id="947" name="Google Shape;947;p4"/>
          <p:cNvSpPr txBox="1"/>
          <p:nvPr/>
        </p:nvSpPr>
        <p:spPr>
          <a:xfrm>
            <a:off x="9307286" y="5519057"/>
            <a:ext cx="0" cy="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Fira Sans"/>
              <a:buNone/>
            </a:pPr>
            <a:r>
              <a:t/>
            </a:r>
            <a:endParaRPr b="0" i="0" sz="1400" u="none" cap="none" strike="noStrike">
              <a:solidFill>
                <a:schemeClr val="dk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948" name="Google Shape;948;p4"/>
          <p:cNvSpPr/>
          <p:nvPr/>
        </p:nvSpPr>
        <p:spPr>
          <a:xfrm>
            <a:off x="5733700" y="2956850"/>
            <a:ext cx="720000" cy="1122000"/>
          </a:xfrm>
          <a:prstGeom prst="rightArrow">
            <a:avLst>
              <a:gd fmla="val 50000" name="adj1"/>
              <a:gd fmla="val 50000" name="adj2"/>
            </a:avLst>
          </a:prstGeom>
          <a:solidFill>
            <a:schemeClr val="lt2"/>
          </a:solidFill>
          <a:ln cap="flat" cmpd="sng" w="9525">
            <a:solidFill>
              <a:schemeClr val="dk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>
              <a:latin typeface="Fira Sans"/>
              <a:ea typeface="Fira Sans"/>
              <a:cs typeface="Fira Sans"/>
              <a:sym typeface="Fira Sans"/>
            </a:endParaRPr>
          </a:p>
        </p:txBody>
      </p:sp>
      <p:pic>
        <p:nvPicPr>
          <p:cNvPr id="949" name="Google Shape;949;p4" title="ChatGPT Image Nov 24, 2025, 05_58_15 PM.png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62150" y="1350151"/>
            <a:ext cx="4555523" cy="4555523"/>
          </a:xfrm>
          <a:prstGeom prst="rect">
            <a:avLst/>
          </a:prstGeom>
          <a:noFill/>
          <a:ln>
            <a:noFill/>
          </a:ln>
        </p:spPr>
      </p:pic>
      <p:pic>
        <p:nvPicPr>
          <p:cNvPr id="950" name="Google Shape;950;p4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030224" y="1162451"/>
            <a:ext cx="4675076" cy="482155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954" name="Shape 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5" name="Google Shape;955;g3a84205419e_0_52"/>
          <p:cNvSpPr txBox="1"/>
          <p:nvPr>
            <p:ph type="title"/>
          </p:nvPr>
        </p:nvSpPr>
        <p:spPr>
          <a:xfrm>
            <a:off x="1056000" y="2421000"/>
            <a:ext cx="8424000" cy="3744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Fira Sans Condensed"/>
              <a:buNone/>
            </a:pPr>
            <a:r>
              <a:rPr lang="it-IT"/>
              <a:t>Quando servono questi strumenti</a:t>
            </a:r>
            <a:endParaRPr/>
          </a:p>
        </p:txBody>
      </p:sp>
      <p:sp>
        <p:nvSpPr>
          <p:cNvPr id="956" name="Google Shape;956;g3a84205419e_0_52"/>
          <p:cNvSpPr txBox="1"/>
          <p:nvPr>
            <p:ph idx="12" type="sldNum"/>
          </p:nvPr>
        </p:nvSpPr>
        <p:spPr>
          <a:xfrm>
            <a:off x="408000" y="6453000"/>
            <a:ext cx="36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Fira Sans"/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957" name="Google Shape;957;g3a84205419e_0_52"/>
          <p:cNvSpPr txBox="1"/>
          <p:nvPr>
            <p:ph idx="11" type="ftr"/>
          </p:nvPr>
        </p:nvSpPr>
        <p:spPr>
          <a:xfrm>
            <a:off x="1055687" y="6453000"/>
            <a:ext cx="4824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Title of the presentation</a:t>
            </a:r>
            <a:endParaRPr/>
          </a:p>
        </p:txBody>
      </p:sp>
      <p:sp>
        <p:nvSpPr>
          <p:cNvPr id="958" name="Google Shape;958;g3a84205419e_0_52"/>
          <p:cNvSpPr txBox="1"/>
          <p:nvPr>
            <p:ph idx="10" type="dt"/>
          </p:nvPr>
        </p:nvSpPr>
        <p:spPr>
          <a:xfrm>
            <a:off x="6492124" y="6453000"/>
            <a:ext cx="720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Fira Sans"/>
              <a:buNone/>
            </a:pPr>
            <a:r>
              <a:rPr lang="it-IT"/>
              <a:t>22/11/25</a:t>
            </a:r>
            <a:endParaRPr/>
          </a:p>
        </p:txBody>
      </p:sp>
      <p:sp>
        <p:nvSpPr>
          <p:cNvPr id="959" name="Google Shape;959;g3a84205419e_0_52"/>
          <p:cNvSpPr txBox="1"/>
          <p:nvPr>
            <p:ph idx="1" type="body"/>
          </p:nvPr>
        </p:nvSpPr>
        <p:spPr>
          <a:xfrm>
            <a:off x="10199687" y="4797850"/>
            <a:ext cx="1584000" cy="1368000"/>
          </a:xfrm>
          <a:prstGeom prst="rect">
            <a:avLst/>
          </a:prstGeom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theme/theme1.xml><?xml version="1.0" encoding="utf-8"?>
<a:theme xmlns:a="http://schemas.openxmlformats.org/drawingml/2006/main" xmlns:r="http://schemas.openxmlformats.org/officeDocument/2006/relationships" name="Office">
  <a:themeElements>
    <a:clrScheme name="_adesso">
      <a:dk1>
        <a:srgbClr val="000000"/>
      </a:dk1>
      <a:lt1>
        <a:srgbClr val="FFFFFF"/>
      </a:lt1>
      <a:dk2>
        <a:srgbClr val="006EC7"/>
      </a:dk2>
      <a:lt2>
        <a:srgbClr val="E7E5E3"/>
      </a:lt2>
      <a:accent1>
        <a:srgbClr val="461EBE"/>
      </a:accent1>
      <a:accent2>
        <a:srgbClr val="FF9868"/>
      </a:accent2>
      <a:accent3>
        <a:srgbClr val="887D75"/>
      </a:accent3>
      <a:accent4>
        <a:srgbClr val="76C800"/>
      </a:accent4>
      <a:accent5>
        <a:srgbClr val="F566BA"/>
      </a:accent5>
      <a:accent6>
        <a:srgbClr val="28DCAA"/>
      </a:accent6>
      <a:hlink>
        <a:srgbClr val="006EC7"/>
      </a:hlink>
      <a:folHlink>
        <a:srgbClr val="887D75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a="http://schemas.openxmlformats.org/drawingml/2006/main" xmlns:r="http://schemas.openxmlformats.org/officeDocument/2006/relationships" name="adesso Master">
  <a:themeElements>
    <a:clrScheme name="adesso1">
      <a:dk1>
        <a:srgbClr val="000000"/>
      </a:dk1>
      <a:lt1>
        <a:srgbClr val="FFFFFF"/>
      </a:lt1>
      <a:dk2>
        <a:srgbClr val="006EC7"/>
      </a:dk2>
      <a:lt2>
        <a:srgbClr val="E7E5E3"/>
      </a:lt2>
      <a:accent1>
        <a:srgbClr val="461EBE"/>
      </a:accent1>
      <a:accent2>
        <a:srgbClr val="FF9868"/>
      </a:accent2>
      <a:accent3>
        <a:srgbClr val="887D75"/>
      </a:accent3>
      <a:accent4>
        <a:srgbClr val="76C800"/>
      </a:accent4>
      <a:accent5>
        <a:srgbClr val="F566BA"/>
      </a:accent5>
      <a:accent6>
        <a:srgbClr val="28DCAA"/>
      </a:accent6>
      <a:hlink>
        <a:srgbClr val="006EC7"/>
      </a:hlink>
      <a:folHlink>
        <a:srgbClr val="887D75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3.xml><?xml version="1.0" encoding="utf-8"?>
<a:theme xmlns:a="http://schemas.openxmlformats.org/drawingml/2006/main" xmlns:r="http://schemas.openxmlformats.org/officeDocument/2006/relationships" name="adesso Master">
  <a:themeElements>
    <a:clrScheme name="adesso1">
      <a:dk1>
        <a:srgbClr val="000000"/>
      </a:dk1>
      <a:lt1>
        <a:srgbClr val="FFFFFF"/>
      </a:lt1>
      <a:dk2>
        <a:srgbClr val="006EC7"/>
      </a:dk2>
      <a:lt2>
        <a:srgbClr val="E7E5E3"/>
      </a:lt2>
      <a:accent1>
        <a:srgbClr val="461EBE"/>
      </a:accent1>
      <a:accent2>
        <a:srgbClr val="FF9868"/>
      </a:accent2>
      <a:accent3>
        <a:srgbClr val="887D75"/>
      </a:accent3>
      <a:accent4>
        <a:srgbClr val="76C800"/>
      </a:accent4>
      <a:accent5>
        <a:srgbClr val="F566BA"/>
      </a:accent5>
      <a:accent6>
        <a:srgbClr val="28DCAA"/>
      </a:accent6>
      <a:hlink>
        <a:srgbClr val="006EC7"/>
      </a:hlink>
      <a:folHlink>
        <a:srgbClr val="887D75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5-06-29T15:12:49Z</dcterms:created>
  <dc:creator>Joosten, Iris</dc:creator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6136ECA5AA6746B646FC1FD58A0362</vt:lpwstr>
  </property>
  <property fmtid="{D5CDD505-2E9C-101B-9397-08002B2CF9AE}" pid="3" name="MediaServiceImageTags">
    <vt:lpwstr/>
  </property>
</Properties>
</file>